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78" r:id="rId1"/>
    <p:sldMasterId id="2147483997" r:id="rId2"/>
    <p:sldMasterId id="2147484003" r:id="rId3"/>
  </p:sldMasterIdLst>
  <p:notesMasterIdLst>
    <p:notesMasterId r:id="rId19"/>
  </p:notesMasterIdLst>
  <p:sldIdLst>
    <p:sldId id="427" r:id="rId4"/>
    <p:sldId id="3641" r:id="rId5"/>
    <p:sldId id="3647" r:id="rId6"/>
    <p:sldId id="3648" r:id="rId7"/>
    <p:sldId id="3649" r:id="rId8"/>
    <p:sldId id="1466" r:id="rId9"/>
    <p:sldId id="487" r:id="rId10"/>
    <p:sldId id="3650" r:id="rId11"/>
    <p:sldId id="495" r:id="rId12"/>
    <p:sldId id="1461" r:id="rId13"/>
    <p:sldId id="3651" r:id="rId14"/>
    <p:sldId id="508" r:id="rId15"/>
    <p:sldId id="1463" r:id="rId16"/>
    <p:sldId id="3652" r:id="rId17"/>
    <p:sldId id="3653" r:id="rId1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D5DDF67-4752-43F1-8979-BB351A8B9F19}" v="1" dt="2026-03-16T15:59:28.3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00" autoAdjust="0"/>
    <p:restoredTop sz="94660"/>
  </p:normalViewPr>
  <p:slideViewPr>
    <p:cSldViewPr snapToGrid="0">
      <p:cViewPr varScale="1">
        <p:scale>
          <a:sx n="93" d="100"/>
          <a:sy n="93" d="100"/>
        </p:scale>
        <p:origin x="92" y="1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microsoft.com/office/2015/10/relationships/revisionInfo" Target="revisionInfo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6ED7FA-CB06-422F-8FE6-5C1CC57DCFE0}" type="datetimeFigureOut">
              <a:rPr lang="de-DE" smtClean="0"/>
              <a:t>16.03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C392F0-C03F-4457-8D37-0FDEA106678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04640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dirty="0"/>
              <a:t>Folie: ca. 5 Minuten inkl. Show-</a:t>
            </a:r>
            <a:r>
              <a:rPr lang="de-DE" sz="1200" dirty="0" err="1"/>
              <a:t>of</a:t>
            </a:r>
            <a:r>
              <a:rPr lang="de-DE" sz="1200" dirty="0"/>
              <a:t>-hands</a:t>
            </a:r>
          </a:p>
          <a:p>
            <a:endParaRPr lang="de-DE" sz="1200" dirty="0"/>
          </a:p>
          <a:p>
            <a:r>
              <a:rPr lang="de-DE" sz="1200" dirty="0"/>
              <a:t>Warum sprechen wir zu dem Thema: oftmals kurzfristige Brandlöschung oder wichtige Faktoren zum generellen Umbruch;</a:t>
            </a:r>
          </a:p>
          <a:p>
            <a:r>
              <a:rPr lang="de-DE" sz="1200" dirty="0"/>
              <a:t>Egal</a:t>
            </a:r>
          </a:p>
          <a:p>
            <a:r>
              <a:rPr lang="de-DE" sz="1200" dirty="0"/>
              <a:t>Typische Auslöser: Wachstum/Zukauf, Regulatorik, Dateninseln, Kosten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de-DE" sz="1200" dirty="0">
                <a:sym typeface="Wingdings" panose="05000000000000000000" pitchFamily="2" charset="2"/>
              </a:rPr>
              <a:t>Kurze Show-</a:t>
            </a:r>
            <a:r>
              <a:rPr lang="de-DE" sz="1200" dirty="0" err="1">
                <a:sym typeface="Wingdings" panose="05000000000000000000" pitchFamily="2" charset="2"/>
              </a:rPr>
              <a:t>of</a:t>
            </a:r>
            <a:r>
              <a:rPr lang="de-DE" sz="1200" dirty="0">
                <a:sym typeface="Wingdings" panose="05000000000000000000" pitchFamily="2" charset="2"/>
              </a:rPr>
              <a:t>-hands zu </a:t>
            </a:r>
          </a:p>
          <a:p>
            <a:pPr marL="628650" lvl="1" indent="-171450">
              <a:buFont typeface="Wingdings" panose="05000000000000000000" pitchFamily="2" charset="2"/>
              <a:buChar char="à"/>
            </a:pPr>
            <a:r>
              <a:rPr lang="de-DE" sz="1200" dirty="0">
                <a:sym typeface="Wingdings" panose="05000000000000000000" pitchFamily="2" charset="2"/>
              </a:rPr>
              <a:t>Wer kann die aktuellen Maßnahmen und Vorgänge im eigenen Unternehmen klar einem oder mehreren der Punkte zu ordnen?</a:t>
            </a:r>
          </a:p>
          <a:p>
            <a:pPr marL="628650" lvl="1" indent="-171450">
              <a:buFont typeface="Wingdings" panose="05000000000000000000" pitchFamily="2" charset="2"/>
              <a:buChar char="à"/>
            </a:pPr>
            <a:r>
              <a:rPr lang="de-DE" sz="1200" dirty="0">
                <a:sym typeface="Wingdings" panose="05000000000000000000" pitchFamily="2" charset="2"/>
              </a:rPr>
              <a:t>Wer sieht bereits in der Projektaufstellung die klare Verbindung zum eigentlichen Ziel?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EC74C7-57AA-43D1-A0F1-787511E71B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36711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A50001-43D2-10A6-0726-C4190FE85A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9257776-B1CA-379E-1915-C8E04FBD95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6B848A2-C2EA-C7B0-9578-39E787D842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ussage:</a:t>
            </a:r>
          </a:p>
          <a:p>
            <a:r>
              <a:rPr lang="de-DE" dirty="0"/>
              <a:t>- Wichtig jegliche Ausrichtung von der Geschäftsstrategie abhängig zu machen -&gt; bspw. </a:t>
            </a:r>
            <a:r>
              <a:rPr lang="de-DE" dirty="0" err="1"/>
              <a:t>fleetlery</a:t>
            </a:r>
            <a:r>
              <a:rPr lang="de-DE" dirty="0"/>
              <a:t> -&gt; Wachstum und Aufbau; 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CC44091-F865-1EC8-6FD3-103B5F7397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EC74C7-57AA-43D1-A0F1-787511E71B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29168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AED06C-D80A-90BB-D670-3F019F716A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2838901-02DC-9678-8E2C-8EFB17693B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BEE1657-C549-177E-0809-8FDBAAE180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ussage:</a:t>
            </a:r>
          </a:p>
          <a:p>
            <a:pPr marL="171450" indent="-171450">
              <a:buFontTx/>
              <a:buChar char="-"/>
            </a:pPr>
            <a:r>
              <a:rPr lang="de-DE" dirty="0"/>
              <a:t>Wichtig jegliche Ausrichtung von der Geschäftsstrategie abhängig zu machen</a:t>
            </a:r>
          </a:p>
          <a:p>
            <a:r>
              <a:rPr lang="de-DE" b="1" dirty="0">
                <a:effectLst/>
              </a:rPr>
              <a:t>-- Vision entwickeln</a:t>
            </a:r>
            <a:r>
              <a:rPr lang="de-DE" dirty="0">
                <a:effectLst/>
              </a:rPr>
              <a:t>: Es ist entscheidend, die Stakeholder auf eine gemeinsame Vision auszurichten, die Geschäftsergebnisse mit HR- und HR-Technologieergebnissen verknüpft. Dies erfordert die Identifizierung und Priorisierung von Ergebnissen, die für verschiedene Interessengruppen wichtig sind.</a:t>
            </a:r>
            <a:endParaRPr lang="de-DE" dirty="0"/>
          </a:p>
          <a:p>
            <a:r>
              <a:rPr lang="de-DE" b="1" dirty="0">
                <a:effectLst/>
              </a:rPr>
              <a:t>-- Technologieoptionen analysieren</a:t>
            </a:r>
            <a:r>
              <a:rPr lang="de-DE" dirty="0">
                <a:effectLst/>
              </a:rPr>
              <a:t>: Organisationen müssen ihren aktuellen Stand in Bezug auf Vision und Ausführung bewerten. Es gibt zwei Hauptansätze: </a:t>
            </a:r>
            <a:r>
              <a:rPr lang="de-DE" dirty="0" err="1">
                <a:effectLst/>
              </a:rPr>
              <a:t>suite</a:t>
            </a:r>
            <a:r>
              <a:rPr lang="de-DE" dirty="0">
                <a:effectLst/>
              </a:rPr>
              <a:t>-zentriert (Fokus auf einheitliche HCM-Suiten) und portfolio-basiert (Suche nach den besten Funktionen unabhängig von der HCM-Suite).</a:t>
            </a:r>
            <a:endParaRPr lang="de-DE" dirty="0"/>
          </a:p>
          <a:p>
            <a:r>
              <a:rPr lang="de-DE" b="1" dirty="0">
                <a:effectLst/>
              </a:rPr>
              <a:t>-- Transformationsinitiativen sequenzieren</a:t>
            </a:r>
            <a:r>
              <a:rPr lang="de-DE" dirty="0">
                <a:effectLst/>
              </a:rPr>
              <a:t>: Nach der Auswahl des aktuellen und gewünschten zukünftigen Zustands ist es wichtig, einen Plan zu erstellen, der Technologie-, Personen-, Prozess- und Dateninitiativen berücksichtigt, um sicherzustellen, dass Investitionen in Technologien auch tatsächlich genutzt werden.</a:t>
            </a:r>
            <a:endParaRPr lang="de-DE" dirty="0"/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8908883-61DB-2805-CE82-92085AF8CE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EC74C7-57AA-43D1-A0F1-787511E71B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10646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C74014-70B2-5705-BA19-11EDA3C548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37CDF35-E3BD-9352-E723-868E40C794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588EB59-2975-1AD6-3030-0EC467B8CB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ussage:</a:t>
            </a:r>
          </a:p>
          <a:p>
            <a:pPr marL="171450" indent="-171450">
              <a:buFontTx/>
              <a:buChar char="-"/>
            </a:pPr>
            <a:r>
              <a:rPr lang="de-DE" dirty="0"/>
              <a:t>Wichtig jegliche Ausrichtung von der Geschäftsstrategie abhängig zu machen</a:t>
            </a:r>
          </a:p>
          <a:p>
            <a:r>
              <a:rPr lang="de-DE" b="1" dirty="0">
                <a:effectLst/>
              </a:rPr>
              <a:t>-- Vision entwickeln</a:t>
            </a:r>
            <a:r>
              <a:rPr lang="de-DE" dirty="0">
                <a:effectLst/>
              </a:rPr>
              <a:t>: Es ist entscheidend, die Stakeholder auf eine gemeinsame Vision auszurichten, die Geschäftsergebnisse mit HR- und HR-Technologieergebnissen verknüpft. Dies erfordert die Identifizierung und Priorisierung von Ergebnissen, die für verschiedene Interessengruppen wichtig sind.</a:t>
            </a:r>
            <a:endParaRPr lang="de-DE" dirty="0"/>
          </a:p>
          <a:p>
            <a:r>
              <a:rPr lang="de-DE" b="1" dirty="0">
                <a:effectLst/>
              </a:rPr>
              <a:t>-- Technologieoptionen analysieren</a:t>
            </a:r>
            <a:r>
              <a:rPr lang="de-DE" dirty="0">
                <a:effectLst/>
              </a:rPr>
              <a:t>: Organisationen müssen ihren aktuellen Stand in Bezug auf Vision und Ausführung bewerten. Es gibt zwei Hauptansätze: </a:t>
            </a:r>
            <a:r>
              <a:rPr lang="de-DE" dirty="0" err="1">
                <a:effectLst/>
              </a:rPr>
              <a:t>suite</a:t>
            </a:r>
            <a:r>
              <a:rPr lang="de-DE" dirty="0">
                <a:effectLst/>
              </a:rPr>
              <a:t>-zentriert (Fokus auf einheitliche HCM-Suiten) und portfolio-basiert (Suche nach den besten Funktionen unabhängig von der HCM-Suite).</a:t>
            </a:r>
            <a:endParaRPr lang="de-DE" dirty="0"/>
          </a:p>
          <a:p>
            <a:r>
              <a:rPr lang="de-DE" b="1" dirty="0">
                <a:effectLst/>
              </a:rPr>
              <a:t>-- Transformationsinitiativen sequenzieren</a:t>
            </a:r>
            <a:r>
              <a:rPr lang="de-DE" dirty="0">
                <a:effectLst/>
              </a:rPr>
              <a:t>: Nach der Auswahl des aktuellen und gewünschten zukünftigen Zustands ist es wichtig, einen Plan zu erstellen, der Technologie-, Personen-, Prozess- und Dateninitiativen berücksichtigt, um sicherzustellen, dass Investitionen in Technologien auch tatsächlich genutzt werden.</a:t>
            </a:r>
            <a:endParaRPr lang="de-DE" dirty="0"/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89049-031D-9A34-5911-6BED48C7D1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EC74C7-57AA-43D1-A0F1-787511E71B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27994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0EB736-B50B-4F9F-9788-167D8314734B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042B6D69-5EB8-5F6E-5226-AA806CF06E2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42100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Tx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000" indent="-342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1600" indent="-342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44800" indent="-2304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602000" indent="-1656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b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e KOSTAL Group, </a:t>
            </a:r>
            <a:r>
              <a:rPr lang="en-US" sz="1400" b="0" dirty="0">
                <a:latin typeface="+mj-lt"/>
                <a:ea typeface="+mj-ea"/>
                <a:cs typeface="+mj-cs"/>
              </a:rPr>
              <a:t>confronted </a:t>
            </a:r>
            <a:r>
              <a:rPr lang="hu-HU" sz="1400" b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with</a:t>
            </a:r>
            <a:r>
              <a:rPr lang="en-US" sz="1400" b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evolving industrial </a:t>
            </a:r>
            <a:r>
              <a:rPr lang="hu-HU" sz="1400" b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markets</a:t>
            </a:r>
            <a:r>
              <a:rPr lang="en-US" sz="1400" b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and increasing global competitiveness, faces significant people-related challenges and demands. Operational managers across </a:t>
            </a:r>
            <a:r>
              <a:rPr lang="hu-HU" sz="1400" b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ll</a:t>
            </a:r>
            <a:r>
              <a:rPr lang="en-US" sz="1400" b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regions have highlighted concerns and areas for improvement that underscore the necessity of a strategic overhaul of people functions. The focus is on transitioning from traditional, administrative HR roles to a more </a:t>
            </a:r>
            <a:r>
              <a:rPr lang="hu-HU" sz="1400" b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proactive, </a:t>
            </a:r>
            <a:r>
              <a:rPr lang="en-US" sz="1400" b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dynamic, value-adding People </a:t>
            </a:r>
            <a:r>
              <a:rPr lang="hu-HU" sz="1400" b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S</a:t>
            </a:r>
            <a:r>
              <a:rPr lang="en-US" sz="1400" b="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rategy</a:t>
            </a:r>
            <a:r>
              <a:rPr lang="en-US" sz="1400" b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.</a:t>
            </a:r>
          </a:p>
          <a:p>
            <a:pPr algn="just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b="0" dirty="0">
                <a:ea typeface="Calibri" panose="020F0502020204030204" pitchFamily="34" charset="0"/>
                <a:cs typeface="Calibri" panose="020F0502020204030204" pitchFamily="34" charset="0"/>
              </a:rPr>
              <a:t>The management of KOSTAL intends to form a global company with globalized and standardized processes and systems. In 2024, a global HR strategy, the “People Strategy 2030”, was developed. This strategy forms the basis for the KOSTAL HRIS strategy and all further digitalization initiatives. </a:t>
            </a:r>
          </a:p>
          <a:p>
            <a:pPr algn="just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b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49552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dirty="0"/>
              <a:t>Stakeholder „</a:t>
            </a:r>
            <a:r>
              <a:rPr lang="de-DE" sz="1200" dirty="0" err="1"/>
              <a:t>Sphere</a:t>
            </a:r>
            <a:r>
              <a:rPr lang="de-DE" sz="1200" dirty="0"/>
              <a:t>“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EC74C7-57AA-43D1-A0F1-787511E71B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56319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19ACF0-AA56-0FE5-2CE3-981717BA59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026D300-9695-857E-9B4A-935871E32B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96725B1-392E-3792-2C8B-FA2E522859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dirty="0"/>
              <a:t>Stakeholder „</a:t>
            </a:r>
            <a:r>
              <a:rPr lang="de-DE" sz="1200" dirty="0" err="1"/>
              <a:t>Sphere</a:t>
            </a:r>
            <a:r>
              <a:rPr lang="de-DE" sz="1200" dirty="0"/>
              <a:t>“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31E7C38-40BB-BEBF-ED70-E78A90B667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EC74C7-57AA-43D1-A0F1-787511E71B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96780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16.png"/><Relationship Id="rId5" Type="http://schemas.openxmlformats.org/officeDocument/2006/relationships/image" Target="../media/image11.png"/><Relationship Id="rId4" Type="http://schemas.openxmlformats.org/officeDocument/2006/relationships/image" Target="../media/image13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7.jpeg"/><Relationship Id="rId4" Type="http://schemas.openxmlformats.org/officeDocument/2006/relationships/image" Target="../media/image1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6.png"/><Relationship Id="rId5" Type="http://schemas.openxmlformats.org/officeDocument/2006/relationships/image" Target="../media/image11.png"/><Relationship Id="rId4" Type="http://schemas.openxmlformats.org/officeDocument/2006/relationships/image" Target="../media/image13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9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5022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3"/>
          <p:cNvSpPr/>
          <p:nvPr userDrawn="1"/>
        </p:nvSpPr>
        <p:spPr bwMode="gray">
          <a:xfrm>
            <a:off x="334963" y="333375"/>
            <a:ext cx="11522076" cy="6194450"/>
          </a:xfrm>
          <a:custGeom>
            <a:avLst/>
            <a:gdLst>
              <a:gd name="connsiteX0" fmla="*/ 0 w 11378159"/>
              <a:gd name="connsiteY0" fmla="*/ 0 h 6121399"/>
              <a:gd name="connsiteX1" fmla="*/ 11378159 w 11378159"/>
              <a:gd name="connsiteY1" fmla="*/ 942 h 6121399"/>
              <a:gd name="connsiteX2" fmla="*/ 8426450 w 11378159"/>
              <a:gd name="connsiteY2" fmla="*/ 5400670 h 6121399"/>
              <a:gd name="connsiteX3" fmla="*/ 342000 w 11378159"/>
              <a:gd name="connsiteY3" fmla="*/ 5400670 h 6121399"/>
              <a:gd name="connsiteX4" fmla="*/ 16115 w 11378159"/>
              <a:gd name="connsiteY4" fmla="*/ 6121399 h 6121399"/>
              <a:gd name="connsiteX5" fmla="*/ 0 w 11378159"/>
              <a:gd name="connsiteY5" fmla="*/ 6121399 h 6121399"/>
              <a:gd name="connsiteX6" fmla="*/ 0 w 11378159"/>
              <a:gd name="connsiteY6" fmla="*/ 5400670 h 6121399"/>
              <a:gd name="connsiteX7" fmla="*/ 0 w 11378159"/>
              <a:gd name="connsiteY7" fmla="*/ 5400669 h 6121399"/>
              <a:gd name="connsiteX8" fmla="*/ 0 w 11378159"/>
              <a:gd name="connsiteY8" fmla="*/ 0 h 6121399"/>
              <a:gd name="connsiteX0" fmla="*/ 0 w 11405868"/>
              <a:gd name="connsiteY0" fmla="*/ 0 h 6121399"/>
              <a:gd name="connsiteX1" fmla="*/ 11378159 w 11405868"/>
              <a:gd name="connsiteY1" fmla="*/ 942 h 6121399"/>
              <a:gd name="connsiteX2" fmla="*/ 11405868 w 11405868"/>
              <a:gd name="connsiteY2" fmla="*/ 5385812 h 6121399"/>
              <a:gd name="connsiteX3" fmla="*/ 342000 w 11405868"/>
              <a:gd name="connsiteY3" fmla="*/ 5400670 h 6121399"/>
              <a:gd name="connsiteX4" fmla="*/ 16115 w 11405868"/>
              <a:gd name="connsiteY4" fmla="*/ 6121399 h 6121399"/>
              <a:gd name="connsiteX5" fmla="*/ 0 w 11405868"/>
              <a:gd name="connsiteY5" fmla="*/ 6121399 h 6121399"/>
              <a:gd name="connsiteX6" fmla="*/ 0 w 11405868"/>
              <a:gd name="connsiteY6" fmla="*/ 5400670 h 6121399"/>
              <a:gd name="connsiteX7" fmla="*/ 0 w 11405868"/>
              <a:gd name="connsiteY7" fmla="*/ 5400669 h 6121399"/>
              <a:gd name="connsiteX8" fmla="*/ 0 w 11405868"/>
              <a:gd name="connsiteY8" fmla="*/ 0 h 6121399"/>
              <a:gd name="connsiteX0" fmla="*/ 0 w 11435443"/>
              <a:gd name="connsiteY0" fmla="*/ 0 h 6121399"/>
              <a:gd name="connsiteX1" fmla="*/ 11378159 w 11435443"/>
              <a:gd name="connsiteY1" fmla="*/ 942 h 6121399"/>
              <a:gd name="connsiteX2" fmla="*/ 11435443 w 11435443"/>
              <a:gd name="connsiteY2" fmla="*/ 5391814 h 6121399"/>
              <a:gd name="connsiteX3" fmla="*/ 342000 w 11435443"/>
              <a:gd name="connsiteY3" fmla="*/ 5400670 h 6121399"/>
              <a:gd name="connsiteX4" fmla="*/ 16115 w 11435443"/>
              <a:gd name="connsiteY4" fmla="*/ 6121399 h 6121399"/>
              <a:gd name="connsiteX5" fmla="*/ 0 w 11435443"/>
              <a:gd name="connsiteY5" fmla="*/ 6121399 h 6121399"/>
              <a:gd name="connsiteX6" fmla="*/ 0 w 11435443"/>
              <a:gd name="connsiteY6" fmla="*/ 5400670 h 6121399"/>
              <a:gd name="connsiteX7" fmla="*/ 0 w 11435443"/>
              <a:gd name="connsiteY7" fmla="*/ 5400669 h 6121399"/>
              <a:gd name="connsiteX8" fmla="*/ 0 w 11435443"/>
              <a:gd name="connsiteY8" fmla="*/ 0 h 6121399"/>
              <a:gd name="connsiteX0" fmla="*/ 0 w 11435443"/>
              <a:gd name="connsiteY0" fmla="*/ 0 h 6121399"/>
              <a:gd name="connsiteX1" fmla="*/ 11427225 w 11435443"/>
              <a:gd name="connsiteY1" fmla="*/ 942 h 6121399"/>
              <a:gd name="connsiteX2" fmla="*/ 11435443 w 11435443"/>
              <a:gd name="connsiteY2" fmla="*/ 5391814 h 6121399"/>
              <a:gd name="connsiteX3" fmla="*/ 342000 w 11435443"/>
              <a:gd name="connsiteY3" fmla="*/ 5400670 h 6121399"/>
              <a:gd name="connsiteX4" fmla="*/ 16115 w 11435443"/>
              <a:gd name="connsiteY4" fmla="*/ 6121399 h 6121399"/>
              <a:gd name="connsiteX5" fmla="*/ 0 w 11435443"/>
              <a:gd name="connsiteY5" fmla="*/ 6121399 h 6121399"/>
              <a:gd name="connsiteX6" fmla="*/ 0 w 11435443"/>
              <a:gd name="connsiteY6" fmla="*/ 5400670 h 6121399"/>
              <a:gd name="connsiteX7" fmla="*/ 0 w 11435443"/>
              <a:gd name="connsiteY7" fmla="*/ 5400669 h 6121399"/>
              <a:gd name="connsiteX8" fmla="*/ 0 w 11435443"/>
              <a:gd name="connsiteY8" fmla="*/ 0 h 6121399"/>
              <a:gd name="connsiteX0" fmla="*/ 0 w 11429964"/>
              <a:gd name="connsiteY0" fmla="*/ 0 h 6121399"/>
              <a:gd name="connsiteX1" fmla="*/ 11427225 w 11429964"/>
              <a:gd name="connsiteY1" fmla="*/ 942 h 6121399"/>
              <a:gd name="connsiteX2" fmla="*/ 11422061 w 11429964"/>
              <a:gd name="connsiteY2" fmla="*/ 5400735 h 6121399"/>
              <a:gd name="connsiteX3" fmla="*/ 342000 w 11429964"/>
              <a:gd name="connsiteY3" fmla="*/ 5400670 h 6121399"/>
              <a:gd name="connsiteX4" fmla="*/ 16115 w 11429964"/>
              <a:gd name="connsiteY4" fmla="*/ 6121399 h 6121399"/>
              <a:gd name="connsiteX5" fmla="*/ 0 w 11429964"/>
              <a:gd name="connsiteY5" fmla="*/ 6121399 h 6121399"/>
              <a:gd name="connsiteX6" fmla="*/ 0 w 11429964"/>
              <a:gd name="connsiteY6" fmla="*/ 5400670 h 6121399"/>
              <a:gd name="connsiteX7" fmla="*/ 0 w 11429964"/>
              <a:gd name="connsiteY7" fmla="*/ 5400669 h 6121399"/>
              <a:gd name="connsiteX8" fmla="*/ 0 w 11429964"/>
              <a:gd name="connsiteY8" fmla="*/ 0 h 6121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29964" h="6121399">
                <a:moveTo>
                  <a:pt x="0" y="0"/>
                </a:moveTo>
                <a:lnTo>
                  <a:pt x="11427225" y="942"/>
                </a:lnTo>
                <a:cubicBezTo>
                  <a:pt x="11429964" y="1797899"/>
                  <a:pt x="11419322" y="3603778"/>
                  <a:pt x="11422061" y="5400735"/>
                </a:cubicBezTo>
                <a:lnTo>
                  <a:pt x="342000" y="5400670"/>
                </a:lnTo>
                <a:lnTo>
                  <a:pt x="16115" y="6121399"/>
                </a:lnTo>
                <a:lnTo>
                  <a:pt x="0" y="6121399"/>
                </a:lnTo>
                <a:lnTo>
                  <a:pt x="0" y="5400670"/>
                </a:lnTo>
                <a:lnTo>
                  <a:pt x="0" y="5400669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noProof="0"/>
          </a:p>
        </p:txBody>
      </p:sp>
      <p:pic>
        <p:nvPicPr>
          <p:cNvPr id="10" name="Grafik 9" descr="PPT_Logo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 bwMode="gray">
          <a:xfrm>
            <a:off x="10025785" y="6307504"/>
            <a:ext cx="1869952" cy="2697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23392" y="2636912"/>
            <a:ext cx="10873208" cy="79208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"/>
              <a:t>Formatvorlage des Untertitelmasters durch Klicken bearbeiten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392" y="638406"/>
            <a:ext cx="10873208" cy="1350434"/>
          </a:xfrm>
        </p:spPr>
        <p:txBody>
          <a:bodyPr anchor="t">
            <a:normAutofit/>
          </a:bodyPr>
          <a:lstStyle>
            <a:lvl1pPr algn="l">
              <a:defRPr sz="3500" b="0">
                <a:solidFill>
                  <a:schemeClr val="bg1"/>
                </a:solidFill>
              </a:defRPr>
            </a:lvl1pPr>
          </a:lstStyle>
          <a:p>
            <a:r>
              <a:rPr lang="de"/>
              <a:t>Titelmasterformat </a:t>
            </a:r>
            <a:br>
              <a:rPr lang="de-DE"/>
            </a:br>
            <a:r>
              <a:rPr lang="de"/>
              <a:t>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2843405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5360" y="188640"/>
            <a:ext cx="11665296" cy="791369"/>
          </a:xfrm>
        </p:spPr>
        <p:txBody>
          <a:bodyPr/>
          <a:lstStyle/>
          <a:p>
            <a:r>
              <a:rPr lang="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5359" y="1484784"/>
            <a:ext cx="11521679" cy="4608041"/>
          </a:xfrm>
        </p:spPr>
        <p:txBody>
          <a:bodyPr/>
          <a:lstStyle/>
          <a:p>
            <a:pPr lvl="0"/>
            <a:r>
              <a:rPr lang="de"/>
              <a:t>Textmasterformat bearbeiten</a:t>
            </a:r>
          </a:p>
          <a:p>
            <a:pPr lvl="1"/>
            <a:r>
              <a:rPr lang="de"/>
              <a:t>Zweite Ebene</a:t>
            </a:r>
          </a:p>
          <a:p>
            <a:pPr lvl="2"/>
            <a:r>
              <a:rPr lang="de"/>
              <a:t>Dritte Ebene</a:t>
            </a:r>
          </a:p>
          <a:p>
            <a:pPr lvl="3"/>
            <a:r>
              <a:rPr lang="de"/>
              <a:t>Vierte Ebene</a:t>
            </a:r>
          </a:p>
          <a:p>
            <a:pPr lvl="4"/>
            <a:r>
              <a:rPr lang="de"/>
              <a:t>Fünfte Ebene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191344" y="1052736"/>
            <a:ext cx="11809312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/>
          <p:cNvSpPr/>
          <p:nvPr userDrawn="1"/>
        </p:nvSpPr>
        <p:spPr>
          <a:xfrm>
            <a:off x="191344" y="6247945"/>
            <a:ext cx="11809312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" name="Gerader Verbinder 5"/>
          <p:cNvCxnSpPr/>
          <p:nvPr userDrawn="1"/>
        </p:nvCxnSpPr>
        <p:spPr>
          <a:xfrm>
            <a:off x="334963" y="1124025"/>
            <a:ext cx="11522075" cy="0"/>
          </a:xfrm>
          <a:prstGeom prst="line">
            <a:avLst/>
          </a:prstGeom>
          <a:ln w="12700">
            <a:solidFill>
              <a:srgbClr val="E600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/>
          <p:cNvCxnSpPr/>
          <p:nvPr userDrawn="1"/>
        </p:nvCxnSpPr>
        <p:spPr>
          <a:xfrm>
            <a:off x="334963" y="6391088"/>
            <a:ext cx="11522075" cy="0"/>
          </a:xfrm>
          <a:prstGeom prst="line">
            <a:avLst/>
          </a:prstGeom>
          <a:ln w="12700">
            <a:solidFill>
              <a:srgbClr val="E600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5438" y="281266"/>
            <a:ext cx="587077" cy="576000"/>
          </a:xfrm>
          <a:prstGeom prst="rect">
            <a:avLst/>
          </a:prstGeom>
        </p:spPr>
      </p:pic>
      <p:pic>
        <p:nvPicPr>
          <p:cNvPr id="10" name="Grafik 9" descr="Ein Bild, das Text, Geschirr enthält.&#10;&#10;Automatisch generierte Beschreibung">
            <a:extLst>
              <a:ext uri="{FF2B5EF4-FFF2-40B4-BE49-F238E27FC236}">
                <a16:creationId xmlns:a16="http://schemas.microsoft.com/office/drawing/2014/main" id="{FF2E7DCA-5ACA-4965-B769-6B22E3EE0DA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2386" y="764704"/>
            <a:ext cx="696578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5314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kt 2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96248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3" name="Objekt 2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5360" y="188640"/>
            <a:ext cx="11665296" cy="791369"/>
          </a:xfrm>
        </p:spPr>
        <p:txBody>
          <a:bodyPr/>
          <a:lstStyle/>
          <a:p>
            <a:r>
              <a:rPr lang="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5359" y="1484784"/>
            <a:ext cx="11521679" cy="4608041"/>
          </a:xfrm>
        </p:spPr>
        <p:txBody>
          <a:bodyPr/>
          <a:lstStyle/>
          <a:p>
            <a:pPr lvl="0"/>
            <a:r>
              <a:rPr lang="de"/>
              <a:t>Textmasterformat bearbeiten</a:t>
            </a:r>
          </a:p>
          <a:p>
            <a:pPr lvl="1"/>
            <a:r>
              <a:rPr lang="de"/>
              <a:t>Zweite Ebene</a:t>
            </a:r>
          </a:p>
          <a:p>
            <a:pPr lvl="2"/>
            <a:r>
              <a:rPr lang="de"/>
              <a:t>Dritte Ebene</a:t>
            </a:r>
          </a:p>
          <a:p>
            <a:pPr lvl="3"/>
            <a:r>
              <a:rPr lang="de"/>
              <a:t>Vierte Ebene</a:t>
            </a:r>
          </a:p>
          <a:p>
            <a:pPr lvl="4"/>
            <a:r>
              <a:rPr lang="de"/>
              <a:t>Fünfte Ebene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191344" y="1052736"/>
            <a:ext cx="11809312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/>
          <p:cNvSpPr/>
          <p:nvPr userDrawn="1"/>
        </p:nvSpPr>
        <p:spPr>
          <a:xfrm>
            <a:off x="191344" y="6247945"/>
            <a:ext cx="11809312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" name="Gerader Verbinder 5"/>
          <p:cNvCxnSpPr/>
          <p:nvPr userDrawn="1"/>
        </p:nvCxnSpPr>
        <p:spPr>
          <a:xfrm>
            <a:off x="334963" y="1124025"/>
            <a:ext cx="11522075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/>
          <p:cNvCxnSpPr/>
          <p:nvPr userDrawn="1"/>
        </p:nvCxnSpPr>
        <p:spPr>
          <a:xfrm>
            <a:off x="334963" y="6391088"/>
            <a:ext cx="11522075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CC0617E4-88ED-4052-AC54-11EF14A70225}"/>
              </a:ext>
            </a:extLst>
          </p:cNvPr>
          <p:cNvGrpSpPr/>
          <p:nvPr userDrawn="1"/>
        </p:nvGrpSpPr>
        <p:grpSpPr>
          <a:xfrm>
            <a:off x="10566280" y="67760"/>
            <a:ext cx="1347412" cy="971085"/>
            <a:chOff x="10566280" y="67760"/>
            <a:chExt cx="1347412" cy="971085"/>
          </a:xfrm>
        </p:grpSpPr>
        <p:pic>
          <p:nvPicPr>
            <p:cNvPr id="22" name="Grafik 2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32504" y="67760"/>
              <a:ext cx="590011" cy="578879"/>
            </a:xfrm>
            <a:prstGeom prst="rect">
              <a:avLst/>
            </a:prstGeom>
          </p:spPr>
        </p:pic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566280" y="732303"/>
              <a:ext cx="1347412" cy="306542"/>
            </a:xfrm>
            <a:prstGeom prst="rect">
              <a:avLst/>
            </a:prstGeom>
          </p:spPr>
        </p:pic>
        <p:pic>
          <p:nvPicPr>
            <p:cNvPr id="13" name="Grafik 12" descr="Ein Bild, das Text, Geschirr enthält.&#10;&#10;Automatisch generierte Beschreibung">
              <a:extLst>
                <a:ext uri="{FF2B5EF4-FFF2-40B4-BE49-F238E27FC236}">
                  <a16:creationId xmlns:a16="http://schemas.microsoft.com/office/drawing/2014/main" id="{359F7EE4-3212-43CA-84C5-3BC8187C24E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52386" y="548680"/>
              <a:ext cx="696578" cy="19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067203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5360" y="188640"/>
            <a:ext cx="11665296" cy="791369"/>
          </a:xfrm>
        </p:spPr>
        <p:txBody>
          <a:bodyPr/>
          <a:lstStyle/>
          <a:p>
            <a:r>
              <a:rPr lang="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5359" y="1484784"/>
            <a:ext cx="11521679" cy="4608041"/>
          </a:xfrm>
        </p:spPr>
        <p:txBody>
          <a:bodyPr/>
          <a:lstStyle/>
          <a:p>
            <a:pPr lvl="0"/>
            <a:r>
              <a:rPr lang="de"/>
              <a:t>Textmasterformat bearbeiten</a:t>
            </a:r>
          </a:p>
          <a:p>
            <a:pPr lvl="1"/>
            <a:r>
              <a:rPr lang="de"/>
              <a:t>Zweite Ebene</a:t>
            </a:r>
          </a:p>
          <a:p>
            <a:pPr lvl="2"/>
            <a:r>
              <a:rPr lang="de"/>
              <a:t>Dritte Ebene</a:t>
            </a:r>
          </a:p>
          <a:p>
            <a:pPr lvl="3"/>
            <a:r>
              <a:rPr lang="de"/>
              <a:t>Vierte Ebene</a:t>
            </a:r>
          </a:p>
          <a:p>
            <a:pPr lvl="4"/>
            <a:r>
              <a:rPr lang="de"/>
              <a:t>Fünfte Ebene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191344" y="1052736"/>
            <a:ext cx="11809312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/>
          <p:cNvSpPr/>
          <p:nvPr userDrawn="1"/>
        </p:nvSpPr>
        <p:spPr>
          <a:xfrm>
            <a:off x="191344" y="6247945"/>
            <a:ext cx="11809312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" name="Gerader Verbinder 5"/>
          <p:cNvCxnSpPr/>
          <p:nvPr userDrawn="1"/>
        </p:nvCxnSpPr>
        <p:spPr>
          <a:xfrm>
            <a:off x="334963" y="1124025"/>
            <a:ext cx="11522075" cy="0"/>
          </a:xfrm>
          <a:prstGeom prst="line">
            <a:avLst/>
          </a:prstGeom>
          <a:ln w="12700">
            <a:solidFill>
              <a:srgbClr val="B100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/>
          <p:cNvCxnSpPr/>
          <p:nvPr userDrawn="1"/>
        </p:nvCxnSpPr>
        <p:spPr>
          <a:xfrm>
            <a:off x="334963" y="6391088"/>
            <a:ext cx="11522075" cy="0"/>
          </a:xfrm>
          <a:prstGeom prst="line">
            <a:avLst/>
          </a:prstGeom>
          <a:ln w="12700">
            <a:solidFill>
              <a:srgbClr val="B100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3F8A646-1E9F-4361-B325-4253CBB6E77E}"/>
              </a:ext>
            </a:extLst>
          </p:cNvPr>
          <p:cNvGrpSpPr/>
          <p:nvPr userDrawn="1"/>
        </p:nvGrpSpPr>
        <p:grpSpPr>
          <a:xfrm>
            <a:off x="10581520" y="70874"/>
            <a:ext cx="767444" cy="967971"/>
            <a:chOff x="10581520" y="70874"/>
            <a:chExt cx="767444" cy="967971"/>
          </a:xfrm>
        </p:grpSpPr>
        <p:pic>
          <p:nvPicPr>
            <p:cNvPr id="9" name="Grafik 8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21491" y="70874"/>
              <a:ext cx="587077" cy="576000"/>
            </a:xfrm>
            <a:prstGeom prst="rect">
              <a:avLst/>
            </a:prstGeom>
          </p:spPr>
        </p:pic>
        <p:pic>
          <p:nvPicPr>
            <p:cNvPr id="22" name="Grafik 2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581520" y="732303"/>
              <a:ext cx="697726" cy="306542"/>
            </a:xfrm>
            <a:prstGeom prst="rect">
              <a:avLst/>
            </a:prstGeom>
          </p:spPr>
        </p:pic>
        <p:pic>
          <p:nvPicPr>
            <p:cNvPr id="12" name="Grafik 11" descr="Ein Bild, das Text, Geschirr enthält.&#10;&#10;Automatisch generierte Beschreibung">
              <a:extLst>
                <a:ext uri="{FF2B5EF4-FFF2-40B4-BE49-F238E27FC236}">
                  <a16:creationId xmlns:a16="http://schemas.microsoft.com/office/drawing/2014/main" id="{63A04B57-381A-41C4-9296-C2BE6A4F342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52386" y="548680"/>
              <a:ext cx="696578" cy="19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326643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85336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8" name="Objekt 1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5360" y="188640"/>
            <a:ext cx="11665296" cy="791369"/>
          </a:xfrm>
        </p:spPr>
        <p:txBody>
          <a:bodyPr/>
          <a:lstStyle/>
          <a:p>
            <a:r>
              <a:rPr lang="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5359" y="1484784"/>
            <a:ext cx="11521679" cy="4608041"/>
          </a:xfrm>
        </p:spPr>
        <p:txBody>
          <a:bodyPr/>
          <a:lstStyle/>
          <a:p>
            <a:pPr lvl="0"/>
            <a:r>
              <a:rPr lang="de"/>
              <a:t>Textmasterformat bearbeiten</a:t>
            </a:r>
          </a:p>
          <a:p>
            <a:pPr lvl="1"/>
            <a:r>
              <a:rPr lang="de"/>
              <a:t>Zweite Ebene</a:t>
            </a:r>
          </a:p>
          <a:p>
            <a:pPr lvl="2"/>
            <a:r>
              <a:rPr lang="de"/>
              <a:t>Dritte Ebene</a:t>
            </a:r>
          </a:p>
          <a:p>
            <a:pPr lvl="3"/>
            <a:r>
              <a:rPr lang="de"/>
              <a:t>Vierte Ebene</a:t>
            </a:r>
          </a:p>
          <a:p>
            <a:pPr lvl="4"/>
            <a:r>
              <a:rPr lang="de"/>
              <a:t>Fünfte Ebene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191344" y="1052736"/>
            <a:ext cx="11809312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/>
          <p:cNvSpPr/>
          <p:nvPr userDrawn="1"/>
        </p:nvSpPr>
        <p:spPr>
          <a:xfrm>
            <a:off x="191344" y="6247945"/>
            <a:ext cx="11809312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" name="Gerader Verbinder 5"/>
          <p:cNvCxnSpPr/>
          <p:nvPr userDrawn="1"/>
        </p:nvCxnSpPr>
        <p:spPr>
          <a:xfrm>
            <a:off x="334963" y="1124025"/>
            <a:ext cx="11522075" cy="0"/>
          </a:xfrm>
          <a:prstGeom prst="line">
            <a:avLst/>
          </a:prstGeom>
          <a:ln w="12700">
            <a:solidFill>
              <a:srgbClr val="002D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/>
          <p:cNvCxnSpPr/>
          <p:nvPr userDrawn="1"/>
        </p:nvCxnSpPr>
        <p:spPr>
          <a:xfrm>
            <a:off x="334963" y="6391088"/>
            <a:ext cx="11522075" cy="0"/>
          </a:xfrm>
          <a:prstGeom prst="line">
            <a:avLst/>
          </a:prstGeom>
          <a:ln w="12700">
            <a:solidFill>
              <a:srgbClr val="002D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8BA4D09-FE5B-4EFE-83DA-29E374874323}"/>
              </a:ext>
            </a:extLst>
          </p:cNvPr>
          <p:cNvGrpSpPr/>
          <p:nvPr userDrawn="1"/>
        </p:nvGrpSpPr>
        <p:grpSpPr>
          <a:xfrm>
            <a:off x="11113149" y="125281"/>
            <a:ext cx="784655" cy="977356"/>
            <a:chOff x="11113149" y="61489"/>
            <a:chExt cx="784655" cy="977356"/>
          </a:xfrm>
        </p:grpSpPr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1113149" y="732303"/>
              <a:ext cx="784655" cy="306542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55191" y="61489"/>
              <a:ext cx="587077" cy="576000"/>
            </a:xfrm>
            <a:prstGeom prst="rect">
              <a:avLst/>
            </a:prstGeom>
          </p:spPr>
        </p:pic>
        <p:pic>
          <p:nvPicPr>
            <p:cNvPr id="13" name="Grafik 12" descr="Ein Bild, das Text, Geschirr enthält.&#10;&#10;Automatisch generierte Beschreibung">
              <a:extLst>
                <a:ext uri="{FF2B5EF4-FFF2-40B4-BE49-F238E27FC236}">
                  <a16:creationId xmlns:a16="http://schemas.microsoft.com/office/drawing/2014/main" id="{A4761F89-F093-46D9-BE98-9EB90E5F309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4015" y="548680"/>
              <a:ext cx="696578" cy="19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88709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5360" y="188640"/>
            <a:ext cx="11665296" cy="791369"/>
          </a:xfrm>
        </p:spPr>
        <p:txBody>
          <a:bodyPr/>
          <a:lstStyle/>
          <a:p>
            <a:r>
              <a:rPr lang="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5359" y="1484784"/>
            <a:ext cx="11521679" cy="4608041"/>
          </a:xfrm>
        </p:spPr>
        <p:txBody>
          <a:bodyPr/>
          <a:lstStyle/>
          <a:p>
            <a:pPr lvl="0"/>
            <a:r>
              <a:rPr lang="de"/>
              <a:t>Textmasterformat bearbeiten</a:t>
            </a:r>
          </a:p>
          <a:p>
            <a:pPr lvl="1"/>
            <a:r>
              <a:rPr lang="de"/>
              <a:t>Zweite Ebene</a:t>
            </a:r>
          </a:p>
          <a:p>
            <a:pPr lvl="2"/>
            <a:r>
              <a:rPr lang="de"/>
              <a:t>Dritte Ebene</a:t>
            </a:r>
          </a:p>
          <a:p>
            <a:pPr lvl="3"/>
            <a:r>
              <a:rPr lang="de"/>
              <a:t>Vierte Ebene</a:t>
            </a:r>
          </a:p>
          <a:p>
            <a:pPr lvl="4"/>
            <a:r>
              <a:rPr lang="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029200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8951545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" name="Objekt 9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92" name="Objekt 9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95" b="11526"/>
          <a:stretch/>
        </p:blipFill>
        <p:spPr>
          <a:xfrm>
            <a:off x="0" y="-27384"/>
            <a:ext cx="12192000" cy="6912768"/>
          </a:xfrm>
          <a:prstGeom prst="rect">
            <a:avLst/>
          </a:prstGeom>
          <a:ln>
            <a:noFill/>
          </a:ln>
        </p:spPr>
      </p:pic>
      <p:sp>
        <p:nvSpPr>
          <p:cNvPr id="4" name="Rechteck 3"/>
          <p:cNvSpPr/>
          <p:nvPr userDrawn="1"/>
        </p:nvSpPr>
        <p:spPr>
          <a:xfrm>
            <a:off x="0" y="-27384"/>
            <a:ext cx="12192000" cy="5859268"/>
          </a:xfrm>
          <a:prstGeom prst="rect">
            <a:avLst/>
          </a:prstGeom>
          <a:gradFill>
            <a:gsLst>
              <a:gs pos="0">
                <a:schemeClr val="bg1">
                  <a:alpha val="60000"/>
                </a:schemeClr>
              </a:gs>
              <a:gs pos="100000">
                <a:schemeClr val="bg1">
                  <a:alpha val="0"/>
                </a:schemeClr>
              </a:gs>
              <a:gs pos="73000">
                <a:schemeClr val="bg1">
                  <a:alpha val="4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49" name="Gruppieren 148"/>
          <p:cNvGrpSpPr/>
          <p:nvPr userDrawn="1"/>
        </p:nvGrpSpPr>
        <p:grpSpPr>
          <a:xfrm>
            <a:off x="-216024" y="-350829"/>
            <a:ext cx="12432704" cy="5255037"/>
            <a:chOff x="-144016" y="-350829"/>
            <a:chExt cx="12432704" cy="5255037"/>
          </a:xfrm>
        </p:grpSpPr>
        <p:sp>
          <p:nvSpPr>
            <p:cNvPr id="5" name="Ellipse 4"/>
            <p:cNvSpPr/>
            <p:nvPr/>
          </p:nvSpPr>
          <p:spPr>
            <a:xfrm>
              <a:off x="6846747" y="703536"/>
              <a:ext cx="194333" cy="194333"/>
            </a:xfrm>
            <a:prstGeom prst="ellipse">
              <a:avLst/>
            </a:prstGeom>
            <a:solidFill>
              <a:schemeClr val="accent3">
                <a:lumMod val="90000"/>
              </a:schemeClr>
            </a:solidFill>
            <a:ln>
              <a:solidFill>
                <a:schemeClr val="accent3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" name="Ellipse 5"/>
            <p:cNvSpPr/>
            <p:nvPr/>
          </p:nvSpPr>
          <p:spPr>
            <a:xfrm>
              <a:off x="5214394" y="90973"/>
              <a:ext cx="194333" cy="194333"/>
            </a:xfrm>
            <a:prstGeom prst="ellipse">
              <a:avLst/>
            </a:prstGeom>
            <a:solidFill>
              <a:schemeClr val="accent3">
                <a:lumMod val="90000"/>
              </a:schemeClr>
            </a:solidFill>
            <a:ln>
              <a:solidFill>
                <a:schemeClr val="accent3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" name="Ellipse 6"/>
            <p:cNvSpPr/>
            <p:nvPr/>
          </p:nvSpPr>
          <p:spPr>
            <a:xfrm>
              <a:off x="8386827" y="159802"/>
              <a:ext cx="194333" cy="194333"/>
            </a:xfrm>
            <a:prstGeom prst="ellipse">
              <a:avLst/>
            </a:prstGeom>
            <a:solidFill>
              <a:schemeClr val="accent3">
                <a:lumMod val="90000"/>
              </a:schemeClr>
            </a:solidFill>
            <a:ln>
              <a:solidFill>
                <a:schemeClr val="accent3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Ellipse 7"/>
            <p:cNvSpPr/>
            <p:nvPr/>
          </p:nvSpPr>
          <p:spPr>
            <a:xfrm>
              <a:off x="5395124" y="1675333"/>
              <a:ext cx="194333" cy="194333"/>
            </a:xfrm>
            <a:prstGeom prst="ellipse">
              <a:avLst/>
            </a:prstGeom>
            <a:solidFill>
              <a:schemeClr val="accent3">
                <a:lumMod val="90000"/>
              </a:schemeClr>
            </a:solidFill>
            <a:ln>
              <a:solidFill>
                <a:schemeClr val="accent3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Ellipse 8"/>
            <p:cNvSpPr/>
            <p:nvPr/>
          </p:nvSpPr>
          <p:spPr>
            <a:xfrm>
              <a:off x="6734820" y="2360470"/>
              <a:ext cx="194333" cy="194333"/>
            </a:xfrm>
            <a:prstGeom prst="ellipse">
              <a:avLst/>
            </a:prstGeom>
            <a:solidFill>
              <a:schemeClr val="accent3">
                <a:lumMod val="90000"/>
              </a:schemeClr>
            </a:solidFill>
            <a:ln>
              <a:solidFill>
                <a:schemeClr val="accent3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Ellipse 9"/>
            <p:cNvSpPr/>
            <p:nvPr/>
          </p:nvSpPr>
          <p:spPr>
            <a:xfrm>
              <a:off x="7337551" y="2223962"/>
              <a:ext cx="194333" cy="194333"/>
            </a:xfrm>
            <a:prstGeom prst="ellipse">
              <a:avLst/>
            </a:prstGeom>
            <a:solidFill>
              <a:schemeClr val="accent3">
                <a:lumMod val="90000"/>
              </a:schemeClr>
            </a:solidFill>
            <a:ln>
              <a:solidFill>
                <a:schemeClr val="accent3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Ellipse 10"/>
            <p:cNvSpPr/>
            <p:nvPr/>
          </p:nvSpPr>
          <p:spPr>
            <a:xfrm>
              <a:off x="9567717" y="1670384"/>
              <a:ext cx="194333" cy="194333"/>
            </a:xfrm>
            <a:prstGeom prst="ellipse">
              <a:avLst/>
            </a:prstGeom>
            <a:solidFill>
              <a:schemeClr val="accent3">
                <a:lumMod val="90000"/>
              </a:schemeClr>
            </a:solidFill>
            <a:ln>
              <a:solidFill>
                <a:schemeClr val="accent3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Ellipse 11"/>
            <p:cNvSpPr/>
            <p:nvPr/>
          </p:nvSpPr>
          <p:spPr>
            <a:xfrm>
              <a:off x="8790297" y="2938619"/>
              <a:ext cx="194333" cy="194333"/>
            </a:xfrm>
            <a:prstGeom prst="ellipse">
              <a:avLst/>
            </a:prstGeom>
            <a:solidFill>
              <a:schemeClr val="accent3">
                <a:lumMod val="90000"/>
              </a:schemeClr>
            </a:solidFill>
            <a:ln>
              <a:solidFill>
                <a:schemeClr val="accent3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Ellipse 12"/>
            <p:cNvSpPr/>
            <p:nvPr/>
          </p:nvSpPr>
          <p:spPr>
            <a:xfrm>
              <a:off x="10514911" y="3604112"/>
              <a:ext cx="194333" cy="194333"/>
            </a:xfrm>
            <a:prstGeom prst="ellipse">
              <a:avLst/>
            </a:prstGeom>
            <a:solidFill>
              <a:schemeClr val="accent3">
                <a:lumMod val="90000"/>
              </a:schemeClr>
            </a:solidFill>
            <a:ln>
              <a:solidFill>
                <a:schemeClr val="accent3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Ellipse 13"/>
            <p:cNvSpPr/>
            <p:nvPr/>
          </p:nvSpPr>
          <p:spPr>
            <a:xfrm>
              <a:off x="10669368" y="2136628"/>
              <a:ext cx="194333" cy="194333"/>
            </a:xfrm>
            <a:prstGeom prst="ellipse">
              <a:avLst/>
            </a:prstGeom>
            <a:solidFill>
              <a:schemeClr val="accent3">
                <a:lumMod val="90000"/>
              </a:schemeClr>
            </a:solidFill>
            <a:ln>
              <a:solidFill>
                <a:schemeClr val="accent3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Ellipse 14"/>
            <p:cNvSpPr/>
            <p:nvPr/>
          </p:nvSpPr>
          <p:spPr>
            <a:xfrm>
              <a:off x="11012834" y="919818"/>
              <a:ext cx="194333" cy="194333"/>
            </a:xfrm>
            <a:prstGeom prst="ellipse">
              <a:avLst/>
            </a:prstGeom>
            <a:solidFill>
              <a:schemeClr val="accent3">
                <a:lumMod val="90000"/>
              </a:schemeClr>
            </a:solidFill>
            <a:ln>
              <a:solidFill>
                <a:schemeClr val="accent3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Ellipse 15"/>
            <p:cNvSpPr/>
            <p:nvPr/>
          </p:nvSpPr>
          <p:spPr>
            <a:xfrm>
              <a:off x="11878723" y="2668363"/>
              <a:ext cx="194333" cy="194333"/>
            </a:xfrm>
            <a:prstGeom prst="ellipse">
              <a:avLst/>
            </a:prstGeom>
            <a:solidFill>
              <a:schemeClr val="accent3">
                <a:lumMod val="90000"/>
              </a:schemeClr>
            </a:solidFill>
            <a:ln>
              <a:solidFill>
                <a:schemeClr val="accent3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Ellipse 16"/>
            <p:cNvSpPr/>
            <p:nvPr/>
          </p:nvSpPr>
          <p:spPr>
            <a:xfrm>
              <a:off x="3639888" y="3718005"/>
              <a:ext cx="194333" cy="194333"/>
            </a:xfrm>
            <a:prstGeom prst="ellipse">
              <a:avLst/>
            </a:prstGeom>
            <a:solidFill>
              <a:schemeClr val="accent3">
                <a:lumMod val="90000"/>
              </a:schemeClr>
            </a:solidFill>
            <a:ln>
              <a:solidFill>
                <a:schemeClr val="accent3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Ellipse 17"/>
            <p:cNvSpPr/>
            <p:nvPr/>
          </p:nvSpPr>
          <p:spPr>
            <a:xfrm>
              <a:off x="6069327" y="4139285"/>
              <a:ext cx="194333" cy="194333"/>
            </a:xfrm>
            <a:prstGeom prst="ellipse">
              <a:avLst/>
            </a:prstGeom>
            <a:solidFill>
              <a:schemeClr val="accent3">
                <a:lumMod val="90000"/>
              </a:schemeClr>
            </a:solidFill>
            <a:ln>
              <a:solidFill>
                <a:schemeClr val="accent3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Ellipse 18"/>
            <p:cNvSpPr/>
            <p:nvPr/>
          </p:nvSpPr>
          <p:spPr>
            <a:xfrm>
              <a:off x="7873146" y="4463398"/>
              <a:ext cx="194333" cy="194333"/>
            </a:xfrm>
            <a:prstGeom prst="ellipse">
              <a:avLst/>
            </a:prstGeom>
            <a:solidFill>
              <a:schemeClr val="accent3">
                <a:lumMod val="90000"/>
              </a:schemeClr>
            </a:solidFill>
            <a:ln>
              <a:solidFill>
                <a:schemeClr val="accent3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Ellipse 19"/>
            <p:cNvSpPr/>
            <p:nvPr/>
          </p:nvSpPr>
          <p:spPr>
            <a:xfrm>
              <a:off x="2289684" y="1092644"/>
              <a:ext cx="194333" cy="194333"/>
            </a:xfrm>
            <a:prstGeom prst="ellipse">
              <a:avLst/>
            </a:prstGeom>
            <a:solidFill>
              <a:schemeClr val="accent3">
                <a:lumMod val="90000"/>
              </a:schemeClr>
            </a:solidFill>
            <a:ln>
              <a:solidFill>
                <a:schemeClr val="accent3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Ellipse 20"/>
            <p:cNvSpPr/>
            <p:nvPr/>
          </p:nvSpPr>
          <p:spPr>
            <a:xfrm>
              <a:off x="1123926" y="2913961"/>
              <a:ext cx="194333" cy="194333"/>
            </a:xfrm>
            <a:prstGeom prst="ellipse">
              <a:avLst/>
            </a:prstGeom>
            <a:solidFill>
              <a:schemeClr val="accent3">
                <a:lumMod val="90000"/>
              </a:schemeClr>
            </a:solidFill>
            <a:ln>
              <a:solidFill>
                <a:schemeClr val="accent3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Ellipse 22"/>
            <p:cNvSpPr/>
            <p:nvPr userDrawn="1"/>
          </p:nvSpPr>
          <p:spPr>
            <a:xfrm>
              <a:off x="2894203" y="2744285"/>
              <a:ext cx="194333" cy="194333"/>
            </a:xfrm>
            <a:prstGeom prst="ellipse">
              <a:avLst/>
            </a:prstGeom>
            <a:solidFill>
              <a:schemeClr val="accent3">
                <a:lumMod val="90000"/>
              </a:schemeClr>
            </a:solidFill>
            <a:ln>
              <a:solidFill>
                <a:schemeClr val="accent3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6" name="Gerader Verbinder 25"/>
            <p:cNvCxnSpPr/>
            <p:nvPr/>
          </p:nvCxnSpPr>
          <p:spPr>
            <a:xfrm flipV="1">
              <a:off x="-144016" y="166863"/>
              <a:ext cx="5379687" cy="633840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/>
          </p:nvCxnSpPr>
          <p:spPr>
            <a:xfrm flipH="1">
              <a:off x="3707163" y="154280"/>
              <a:ext cx="1625073" cy="3724199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/>
          </p:nvCxnSpPr>
          <p:spPr>
            <a:xfrm>
              <a:off x="5347463" y="165623"/>
              <a:ext cx="145750" cy="1681526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>
              <a:endCxn id="5" idx="2"/>
            </p:cNvCxnSpPr>
            <p:nvPr/>
          </p:nvCxnSpPr>
          <p:spPr>
            <a:xfrm>
              <a:off x="5311561" y="165442"/>
              <a:ext cx="1535186" cy="635261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>
              <a:stCxn id="5" idx="2"/>
            </p:cNvCxnSpPr>
            <p:nvPr/>
          </p:nvCxnSpPr>
          <p:spPr>
            <a:xfrm>
              <a:off x="6846747" y="800703"/>
              <a:ext cx="2752886" cy="945571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/>
          </p:nvCxnSpPr>
          <p:spPr>
            <a:xfrm>
              <a:off x="6903000" y="731995"/>
              <a:ext cx="548873" cy="1523882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/>
          </p:nvCxnSpPr>
          <p:spPr>
            <a:xfrm flipH="1">
              <a:off x="5492280" y="814976"/>
              <a:ext cx="1473859" cy="944003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/>
          </p:nvCxnSpPr>
          <p:spPr>
            <a:xfrm flipH="1">
              <a:off x="6821019" y="2289726"/>
              <a:ext cx="662500" cy="154800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/>
          </p:nvCxnSpPr>
          <p:spPr>
            <a:xfrm flipV="1">
              <a:off x="3766960" y="1784518"/>
              <a:ext cx="1749001" cy="1991917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/>
          </p:nvCxnSpPr>
          <p:spPr>
            <a:xfrm flipH="1">
              <a:off x="3739078" y="2452760"/>
              <a:ext cx="3060752" cy="1360334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/>
          </p:nvCxnSpPr>
          <p:spPr>
            <a:xfrm>
              <a:off x="3747694" y="3837870"/>
              <a:ext cx="798643" cy="1044307"/>
            </a:xfrm>
            <a:prstGeom prst="line">
              <a:avLst/>
            </a:prstGeom>
            <a:ln w="9525">
              <a:gradFill>
                <a:gsLst>
                  <a:gs pos="100000">
                    <a:schemeClr val="accent3">
                      <a:lumMod val="90000"/>
                      <a:alpha val="0"/>
                    </a:schemeClr>
                  </a:gs>
                  <a:gs pos="0">
                    <a:schemeClr val="accent3">
                      <a:lumMod val="90000"/>
                    </a:scheme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/>
          </p:nvCxnSpPr>
          <p:spPr>
            <a:xfrm>
              <a:off x="3721428" y="3817369"/>
              <a:ext cx="2531594" cy="450998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/>
          </p:nvCxnSpPr>
          <p:spPr>
            <a:xfrm>
              <a:off x="6128432" y="4237694"/>
              <a:ext cx="1826365" cy="315859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r Verbinder 46"/>
            <p:cNvCxnSpPr/>
            <p:nvPr/>
          </p:nvCxnSpPr>
          <p:spPr>
            <a:xfrm flipV="1">
              <a:off x="5889955" y="4236453"/>
              <a:ext cx="275125" cy="645725"/>
            </a:xfrm>
            <a:prstGeom prst="line">
              <a:avLst/>
            </a:prstGeom>
            <a:ln w="9525">
              <a:gradFill>
                <a:gsLst>
                  <a:gs pos="1000">
                    <a:schemeClr val="accent3">
                      <a:lumMod val="90000"/>
                      <a:alpha val="0"/>
                    </a:schemeClr>
                  </a:gs>
                  <a:gs pos="100000">
                    <a:schemeClr val="accent3">
                      <a:lumMod val="90000"/>
                    </a:scheme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r Verbinder 47"/>
            <p:cNvCxnSpPr/>
            <p:nvPr/>
          </p:nvCxnSpPr>
          <p:spPr>
            <a:xfrm flipV="1">
              <a:off x="6166504" y="2501498"/>
              <a:ext cx="631584" cy="1700417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r Verbinder 48"/>
            <p:cNvCxnSpPr/>
            <p:nvPr/>
          </p:nvCxnSpPr>
          <p:spPr>
            <a:xfrm>
              <a:off x="6826660" y="2472734"/>
              <a:ext cx="1117417" cy="2040400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r Verbinder 49"/>
            <p:cNvCxnSpPr/>
            <p:nvPr/>
          </p:nvCxnSpPr>
          <p:spPr>
            <a:xfrm flipH="1" flipV="1">
              <a:off x="5570006" y="1818690"/>
              <a:ext cx="1173821" cy="616430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r Verbinder 50"/>
            <p:cNvCxnSpPr/>
            <p:nvPr/>
          </p:nvCxnSpPr>
          <p:spPr>
            <a:xfrm flipV="1">
              <a:off x="6985493" y="-23137"/>
              <a:ext cx="116715" cy="823840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51"/>
            <p:cNvCxnSpPr/>
            <p:nvPr/>
          </p:nvCxnSpPr>
          <p:spPr>
            <a:xfrm flipV="1">
              <a:off x="5313005" y="-23139"/>
              <a:ext cx="2002979" cy="190001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/>
            <p:cNvCxnSpPr/>
            <p:nvPr/>
          </p:nvCxnSpPr>
          <p:spPr>
            <a:xfrm>
              <a:off x="4683077" y="-88390"/>
              <a:ext cx="655363" cy="286449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r Verbinder 53"/>
            <p:cNvCxnSpPr/>
            <p:nvPr/>
          </p:nvCxnSpPr>
          <p:spPr>
            <a:xfrm>
              <a:off x="5187032" y="-39342"/>
              <a:ext cx="153027" cy="250972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r Verbinder 54"/>
            <p:cNvCxnSpPr>
              <a:endCxn id="5" idx="6"/>
            </p:cNvCxnSpPr>
            <p:nvPr/>
          </p:nvCxnSpPr>
          <p:spPr>
            <a:xfrm flipH="1">
              <a:off x="7041080" y="307323"/>
              <a:ext cx="1386179" cy="493380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/>
            <p:cNvCxnSpPr/>
            <p:nvPr/>
          </p:nvCxnSpPr>
          <p:spPr>
            <a:xfrm flipH="1" flipV="1">
              <a:off x="8523570" y="259047"/>
              <a:ext cx="2526335" cy="728750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56"/>
            <p:cNvCxnSpPr/>
            <p:nvPr/>
          </p:nvCxnSpPr>
          <p:spPr>
            <a:xfrm flipH="1" flipV="1">
              <a:off x="8487439" y="260465"/>
              <a:ext cx="1205083" cy="1507085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57"/>
            <p:cNvCxnSpPr/>
            <p:nvPr/>
          </p:nvCxnSpPr>
          <p:spPr>
            <a:xfrm>
              <a:off x="7436321" y="2319491"/>
              <a:ext cx="534417" cy="2186251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/>
            <p:cNvCxnSpPr/>
            <p:nvPr/>
          </p:nvCxnSpPr>
          <p:spPr>
            <a:xfrm>
              <a:off x="7443838" y="2330961"/>
              <a:ext cx="1408918" cy="680167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/>
            <p:cNvCxnSpPr/>
            <p:nvPr/>
          </p:nvCxnSpPr>
          <p:spPr>
            <a:xfrm flipV="1">
              <a:off x="8013104" y="3091041"/>
              <a:ext cx="874501" cy="1457501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/>
            <p:cNvCxnSpPr/>
            <p:nvPr/>
          </p:nvCxnSpPr>
          <p:spPr>
            <a:xfrm flipH="1" flipV="1">
              <a:off x="8896685" y="3047964"/>
              <a:ext cx="917802" cy="1751778"/>
            </a:xfrm>
            <a:prstGeom prst="line">
              <a:avLst/>
            </a:prstGeom>
            <a:ln w="9525">
              <a:gradFill>
                <a:gsLst>
                  <a:gs pos="1000">
                    <a:schemeClr val="accent3">
                      <a:lumMod val="90000"/>
                      <a:alpha val="0"/>
                    </a:schemeClr>
                  </a:gs>
                  <a:gs pos="100000">
                    <a:schemeClr val="accent3">
                      <a:lumMod val="90000"/>
                    </a:scheme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/>
            <p:cNvCxnSpPr/>
            <p:nvPr/>
          </p:nvCxnSpPr>
          <p:spPr>
            <a:xfrm flipH="1">
              <a:off x="10053583" y="3748525"/>
              <a:ext cx="521978" cy="1100568"/>
            </a:xfrm>
            <a:prstGeom prst="line">
              <a:avLst/>
            </a:prstGeom>
            <a:ln w="9525">
              <a:gradFill>
                <a:gsLst>
                  <a:gs pos="84000">
                    <a:schemeClr val="accent3">
                      <a:lumMod val="90000"/>
                      <a:alpha val="0"/>
                    </a:schemeClr>
                  </a:gs>
                  <a:gs pos="0">
                    <a:schemeClr val="accent3">
                      <a:lumMod val="90000"/>
                    </a:scheme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/>
            <p:cNvCxnSpPr/>
            <p:nvPr/>
          </p:nvCxnSpPr>
          <p:spPr>
            <a:xfrm>
              <a:off x="7970906" y="4560564"/>
              <a:ext cx="245023" cy="343644"/>
            </a:xfrm>
            <a:prstGeom prst="line">
              <a:avLst/>
            </a:prstGeom>
            <a:ln w="9525">
              <a:gradFill>
                <a:gsLst>
                  <a:gs pos="100000">
                    <a:schemeClr val="accent3">
                      <a:lumMod val="90000"/>
                      <a:alpha val="0"/>
                    </a:schemeClr>
                  </a:gs>
                  <a:gs pos="0">
                    <a:schemeClr val="accent3">
                      <a:lumMod val="90000"/>
                    </a:scheme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/>
            <p:cNvCxnSpPr/>
            <p:nvPr/>
          </p:nvCxnSpPr>
          <p:spPr>
            <a:xfrm flipH="1">
              <a:off x="7912174" y="3654031"/>
              <a:ext cx="2757881" cy="913128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/>
            <p:cNvCxnSpPr/>
            <p:nvPr/>
          </p:nvCxnSpPr>
          <p:spPr>
            <a:xfrm flipH="1">
              <a:off x="8867112" y="2248851"/>
              <a:ext cx="1894751" cy="777334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/>
            <p:cNvCxnSpPr/>
            <p:nvPr/>
          </p:nvCxnSpPr>
          <p:spPr>
            <a:xfrm>
              <a:off x="8473264" y="224183"/>
              <a:ext cx="437250" cy="2817834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/>
            <p:cNvCxnSpPr/>
            <p:nvPr/>
          </p:nvCxnSpPr>
          <p:spPr>
            <a:xfrm flipV="1">
              <a:off x="7471235" y="1778280"/>
              <a:ext cx="2186251" cy="534417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/>
            <p:cNvCxnSpPr>
              <a:endCxn id="15" idx="7"/>
            </p:cNvCxnSpPr>
            <p:nvPr/>
          </p:nvCxnSpPr>
          <p:spPr>
            <a:xfrm flipV="1">
              <a:off x="9638723" y="948278"/>
              <a:ext cx="1539985" cy="822597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/>
            <p:cNvCxnSpPr/>
            <p:nvPr/>
          </p:nvCxnSpPr>
          <p:spPr>
            <a:xfrm flipV="1">
              <a:off x="11124350" y="-42035"/>
              <a:ext cx="1164338" cy="1035999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/>
            <p:cNvCxnSpPr/>
            <p:nvPr/>
          </p:nvCxnSpPr>
          <p:spPr>
            <a:xfrm flipH="1">
              <a:off x="8877842" y="1756985"/>
              <a:ext cx="768674" cy="1278811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/>
            <p:cNvCxnSpPr/>
            <p:nvPr/>
          </p:nvCxnSpPr>
          <p:spPr>
            <a:xfrm flipH="1" flipV="1">
              <a:off x="9621094" y="1738217"/>
              <a:ext cx="1166901" cy="517633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/>
            <p:cNvCxnSpPr/>
            <p:nvPr/>
          </p:nvCxnSpPr>
          <p:spPr>
            <a:xfrm flipH="1" flipV="1">
              <a:off x="9662535" y="1751005"/>
              <a:ext cx="971667" cy="2018981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/>
            <p:cNvCxnSpPr/>
            <p:nvPr/>
          </p:nvCxnSpPr>
          <p:spPr>
            <a:xfrm flipV="1">
              <a:off x="10605673" y="2277428"/>
              <a:ext cx="145750" cy="1408917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/>
            <p:cNvCxnSpPr/>
            <p:nvPr/>
          </p:nvCxnSpPr>
          <p:spPr>
            <a:xfrm flipH="1" flipV="1">
              <a:off x="10623400" y="3701279"/>
              <a:ext cx="777334" cy="1169577"/>
            </a:xfrm>
            <a:prstGeom prst="line">
              <a:avLst/>
            </a:prstGeom>
            <a:ln w="9525">
              <a:gradFill>
                <a:gsLst>
                  <a:gs pos="1000">
                    <a:schemeClr val="accent3">
                      <a:lumMod val="90000"/>
                      <a:alpha val="0"/>
                    </a:schemeClr>
                  </a:gs>
                  <a:gs pos="100000">
                    <a:schemeClr val="accent3">
                      <a:lumMod val="90000"/>
                    </a:scheme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r Verbinder 80"/>
            <p:cNvCxnSpPr/>
            <p:nvPr/>
          </p:nvCxnSpPr>
          <p:spPr>
            <a:xfrm flipH="1">
              <a:off x="10592690" y="2771933"/>
              <a:ext cx="1360334" cy="929346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r Verbinder 81"/>
            <p:cNvCxnSpPr/>
            <p:nvPr/>
          </p:nvCxnSpPr>
          <p:spPr>
            <a:xfrm flipV="1">
              <a:off x="10770859" y="1031668"/>
              <a:ext cx="340084" cy="1166000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r Verbinder 82"/>
            <p:cNvCxnSpPr/>
            <p:nvPr/>
          </p:nvCxnSpPr>
          <p:spPr>
            <a:xfrm flipH="1" flipV="1">
              <a:off x="11124350" y="1013467"/>
              <a:ext cx="851540" cy="1700417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r Verbinder 83"/>
            <p:cNvCxnSpPr/>
            <p:nvPr/>
          </p:nvCxnSpPr>
          <p:spPr>
            <a:xfrm flipH="1">
              <a:off x="11403349" y="2812777"/>
              <a:ext cx="583000" cy="2036316"/>
            </a:xfrm>
            <a:prstGeom prst="line">
              <a:avLst/>
            </a:prstGeom>
            <a:ln w="9525">
              <a:gradFill>
                <a:gsLst>
                  <a:gs pos="97000">
                    <a:schemeClr val="accent3">
                      <a:lumMod val="90000"/>
                      <a:alpha val="0"/>
                    </a:schemeClr>
                  </a:gs>
                  <a:gs pos="0">
                    <a:schemeClr val="accent3">
                      <a:lumMod val="90000"/>
                    </a:scheme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/>
          </p:nvCxnSpPr>
          <p:spPr>
            <a:xfrm flipH="1" flipV="1">
              <a:off x="10803303" y="2242547"/>
              <a:ext cx="1166901" cy="517633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/>
          </p:nvCxnSpPr>
          <p:spPr>
            <a:xfrm flipH="1" flipV="1">
              <a:off x="8207656" y="-29882"/>
              <a:ext cx="265608" cy="305199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/>
          </p:nvCxnSpPr>
          <p:spPr>
            <a:xfrm flipV="1">
              <a:off x="8482083" y="-18635"/>
              <a:ext cx="407546" cy="266184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Ellipse 105"/>
            <p:cNvSpPr/>
            <p:nvPr userDrawn="1"/>
          </p:nvSpPr>
          <p:spPr>
            <a:xfrm>
              <a:off x="338229" y="1090475"/>
              <a:ext cx="194333" cy="194333"/>
            </a:xfrm>
            <a:prstGeom prst="ellipse">
              <a:avLst/>
            </a:prstGeom>
            <a:solidFill>
              <a:schemeClr val="accent3">
                <a:lumMod val="90000"/>
              </a:schemeClr>
            </a:solidFill>
            <a:ln>
              <a:solidFill>
                <a:schemeClr val="accent3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07" name="Gerader Verbinder 106"/>
            <p:cNvCxnSpPr/>
            <p:nvPr userDrawn="1"/>
          </p:nvCxnSpPr>
          <p:spPr>
            <a:xfrm flipH="1">
              <a:off x="2379688" y="207031"/>
              <a:ext cx="2947397" cy="966824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/>
            <p:cNvCxnSpPr/>
            <p:nvPr userDrawn="1"/>
          </p:nvCxnSpPr>
          <p:spPr>
            <a:xfrm flipH="1">
              <a:off x="1212888" y="1214558"/>
              <a:ext cx="1175591" cy="1783361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r Verbinder 110"/>
            <p:cNvCxnSpPr/>
            <p:nvPr userDrawn="1"/>
          </p:nvCxnSpPr>
          <p:spPr>
            <a:xfrm>
              <a:off x="2388289" y="1140039"/>
              <a:ext cx="608999" cy="1739397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r Verbinder 113"/>
            <p:cNvCxnSpPr/>
            <p:nvPr userDrawn="1"/>
          </p:nvCxnSpPr>
          <p:spPr>
            <a:xfrm>
              <a:off x="430501" y="1166669"/>
              <a:ext cx="761249" cy="1802382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/>
            <p:cNvCxnSpPr/>
            <p:nvPr userDrawn="1"/>
          </p:nvCxnSpPr>
          <p:spPr>
            <a:xfrm>
              <a:off x="3003092" y="2824958"/>
              <a:ext cx="715574" cy="973286"/>
            </a:xfrm>
            <a:prstGeom prst="line">
              <a:avLst/>
            </a:prstGeom>
            <a:ln w="9525">
              <a:gradFill>
                <a:gsLst>
                  <a:gs pos="100000">
                    <a:schemeClr val="accent3">
                      <a:lumMod val="90000"/>
                    </a:schemeClr>
                  </a:gs>
                  <a:gs pos="45000">
                    <a:schemeClr val="accent3">
                      <a:lumMod val="90000"/>
                    </a:scheme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r Verbinder 119"/>
            <p:cNvCxnSpPr/>
            <p:nvPr userDrawn="1"/>
          </p:nvCxnSpPr>
          <p:spPr>
            <a:xfrm flipH="1">
              <a:off x="1679287" y="2862935"/>
              <a:ext cx="1286035" cy="1080547"/>
            </a:xfrm>
            <a:prstGeom prst="line">
              <a:avLst/>
            </a:prstGeom>
            <a:ln w="9525">
              <a:gradFill>
                <a:gsLst>
                  <a:gs pos="100000">
                    <a:schemeClr val="accent3">
                      <a:lumMod val="90000"/>
                      <a:alpha val="30000"/>
                    </a:schemeClr>
                  </a:gs>
                  <a:gs pos="45000">
                    <a:schemeClr val="accent3">
                      <a:lumMod val="90000"/>
                    </a:scheme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r Verbinder 121"/>
            <p:cNvCxnSpPr/>
            <p:nvPr userDrawn="1"/>
          </p:nvCxnSpPr>
          <p:spPr>
            <a:xfrm>
              <a:off x="1235090" y="3029235"/>
              <a:ext cx="380625" cy="955262"/>
            </a:xfrm>
            <a:prstGeom prst="line">
              <a:avLst/>
            </a:prstGeom>
            <a:ln w="9525">
              <a:gradFill>
                <a:gsLst>
                  <a:gs pos="100000">
                    <a:schemeClr val="accent3">
                      <a:lumMod val="90000"/>
                      <a:alpha val="40000"/>
                    </a:schemeClr>
                  </a:gs>
                  <a:gs pos="45000">
                    <a:schemeClr val="accent3">
                      <a:lumMod val="90000"/>
                    </a:scheme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4" name="Ellipse 123"/>
            <p:cNvSpPr/>
            <p:nvPr userDrawn="1"/>
          </p:nvSpPr>
          <p:spPr>
            <a:xfrm>
              <a:off x="3448617" y="2232934"/>
              <a:ext cx="194333" cy="194333"/>
            </a:xfrm>
            <a:prstGeom prst="ellipse">
              <a:avLst/>
            </a:prstGeom>
            <a:solidFill>
              <a:schemeClr val="accent3">
                <a:lumMod val="90000"/>
              </a:schemeClr>
            </a:solidFill>
            <a:ln>
              <a:solidFill>
                <a:schemeClr val="accent3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5" name="Ellipse 124"/>
            <p:cNvSpPr/>
            <p:nvPr userDrawn="1"/>
          </p:nvSpPr>
          <p:spPr>
            <a:xfrm>
              <a:off x="1532953" y="3887668"/>
              <a:ext cx="194333" cy="194333"/>
            </a:xfrm>
            <a:prstGeom prst="ellipse">
              <a:avLst/>
            </a:prstGeom>
            <a:solidFill>
              <a:schemeClr val="accent3">
                <a:lumMod val="90000"/>
              </a:schemeClr>
            </a:solidFill>
            <a:ln>
              <a:solidFill>
                <a:schemeClr val="accent3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28" name="Gerader Verbinder 127"/>
            <p:cNvCxnSpPr/>
            <p:nvPr userDrawn="1"/>
          </p:nvCxnSpPr>
          <p:spPr>
            <a:xfrm flipH="1">
              <a:off x="-42837" y="3002371"/>
              <a:ext cx="1247598" cy="1730015"/>
            </a:xfrm>
            <a:prstGeom prst="line">
              <a:avLst/>
            </a:prstGeom>
            <a:ln w="9525">
              <a:gradFill>
                <a:gsLst>
                  <a:gs pos="100000">
                    <a:schemeClr val="accent3">
                      <a:lumMod val="90000"/>
                      <a:alpha val="0"/>
                    </a:schemeClr>
                  </a:gs>
                  <a:gs pos="45000">
                    <a:schemeClr val="accent3">
                      <a:lumMod val="90000"/>
                    </a:scheme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r Verbinder 131"/>
            <p:cNvCxnSpPr/>
            <p:nvPr userDrawn="1"/>
          </p:nvCxnSpPr>
          <p:spPr>
            <a:xfrm flipH="1">
              <a:off x="1246815" y="2326453"/>
              <a:ext cx="2291359" cy="684905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Gerader Verbinder 134"/>
            <p:cNvCxnSpPr/>
            <p:nvPr userDrawn="1"/>
          </p:nvCxnSpPr>
          <p:spPr>
            <a:xfrm flipH="1" flipV="1">
              <a:off x="-55392" y="1563949"/>
              <a:ext cx="3589903" cy="758598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Gerader Verbinder 136"/>
            <p:cNvCxnSpPr/>
            <p:nvPr userDrawn="1"/>
          </p:nvCxnSpPr>
          <p:spPr>
            <a:xfrm flipH="1">
              <a:off x="2347758" y="816658"/>
              <a:ext cx="4620902" cy="369415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Gerader Verbinder 138"/>
            <p:cNvCxnSpPr/>
            <p:nvPr userDrawn="1"/>
          </p:nvCxnSpPr>
          <p:spPr>
            <a:xfrm flipH="1">
              <a:off x="435090" y="-313551"/>
              <a:ext cx="1168239" cy="1504066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r Verbinder 140"/>
            <p:cNvCxnSpPr/>
            <p:nvPr userDrawn="1"/>
          </p:nvCxnSpPr>
          <p:spPr>
            <a:xfrm>
              <a:off x="1953460" y="-350829"/>
              <a:ext cx="454412" cy="1535105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Gerader Verbinder 142"/>
            <p:cNvCxnSpPr/>
            <p:nvPr userDrawn="1"/>
          </p:nvCxnSpPr>
          <p:spPr>
            <a:xfrm flipH="1">
              <a:off x="3544771" y="1781299"/>
              <a:ext cx="1947655" cy="541075"/>
            </a:xfrm>
            <a:prstGeom prst="line">
              <a:avLst/>
            </a:prstGeom>
            <a:ln w="9525">
              <a:solidFill>
                <a:schemeClr val="accent3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r Verbinder 144"/>
            <p:cNvCxnSpPr/>
            <p:nvPr userDrawn="1"/>
          </p:nvCxnSpPr>
          <p:spPr>
            <a:xfrm flipH="1">
              <a:off x="318930" y="1189270"/>
              <a:ext cx="109303" cy="3543116"/>
            </a:xfrm>
            <a:prstGeom prst="line">
              <a:avLst/>
            </a:prstGeom>
            <a:ln w="9525">
              <a:gradFill>
                <a:gsLst>
                  <a:gs pos="100000">
                    <a:schemeClr val="accent3">
                      <a:lumMod val="90000"/>
                      <a:alpha val="0"/>
                    </a:schemeClr>
                  </a:gs>
                  <a:gs pos="48000">
                    <a:schemeClr val="accent3">
                      <a:lumMod val="90000"/>
                    </a:scheme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736012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8" name="Objekt 1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5360" y="188640"/>
            <a:ext cx="11665296" cy="791369"/>
          </a:xfrm>
        </p:spPr>
        <p:txBody>
          <a:bodyPr/>
          <a:lstStyle/>
          <a:p>
            <a:r>
              <a:rPr lang="de"/>
              <a:t>Titelmasterformat durch Klicken bearbeiten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191344" y="1052736"/>
            <a:ext cx="11809312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/>
          <p:cNvSpPr/>
          <p:nvPr userDrawn="1"/>
        </p:nvSpPr>
        <p:spPr>
          <a:xfrm>
            <a:off x="191344" y="6247945"/>
            <a:ext cx="11809312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" name="Gerader Verbinder 5"/>
          <p:cNvCxnSpPr/>
          <p:nvPr userDrawn="1"/>
        </p:nvCxnSpPr>
        <p:spPr>
          <a:xfrm>
            <a:off x="334963" y="1124025"/>
            <a:ext cx="11522075" cy="0"/>
          </a:xfrm>
          <a:prstGeom prst="line">
            <a:avLst/>
          </a:prstGeom>
          <a:ln w="12700">
            <a:solidFill>
              <a:srgbClr val="F29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/>
          <p:cNvCxnSpPr/>
          <p:nvPr userDrawn="1"/>
        </p:nvCxnSpPr>
        <p:spPr>
          <a:xfrm>
            <a:off x="334963" y="6391088"/>
            <a:ext cx="11522075" cy="0"/>
          </a:xfrm>
          <a:prstGeom prst="line">
            <a:avLst/>
          </a:prstGeom>
          <a:ln w="12700">
            <a:solidFill>
              <a:srgbClr val="F29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6C845A33-2E3C-332F-67CE-0FA2A239F5AD}"/>
              </a:ext>
            </a:extLst>
          </p:cNvPr>
          <p:cNvGrpSpPr/>
          <p:nvPr userDrawn="1"/>
        </p:nvGrpSpPr>
        <p:grpSpPr>
          <a:xfrm>
            <a:off x="10581520" y="61489"/>
            <a:ext cx="784655" cy="977356"/>
            <a:chOff x="10581520" y="61489"/>
            <a:chExt cx="784655" cy="977356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72D34EEC-0734-C8CE-80A4-68E8BA5AF11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581520" y="732303"/>
              <a:ext cx="784655" cy="306542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71BA7468-46E4-E664-2472-778175FBE92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23562" y="61489"/>
              <a:ext cx="587077" cy="576000"/>
            </a:xfrm>
            <a:prstGeom prst="rect">
              <a:avLst/>
            </a:prstGeom>
          </p:spPr>
        </p:pic>
        <p:pic>
          <p:nvPicPr>
            <p:cNvPr id="14" name="Grafik 13" descr="Ein Bild, das Text, Geschirr enthält.&#10;&#10;Automatisch generierte Beschreibung">
              <a:extLst>
                <a:ext uri="{FF2B5EF4-FFF2-40B4-BE49-F238E27FC236}">
                  <a16:creationId xmlns:a16="http://schemas.microsoft.com/office/drawing/2014/main" id="{24DF392F-81BE-E8BA-9A75-4D7B29501A3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52386" y="548680"/>
              <a:ext cx="696578" cy="19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847683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614B7E-811F-AB7C-6ECB-E0B211710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6953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233" b="0" i="0">
                <a:solidFill>
                  <a:schemeClr val="bg1"/>
                </a:solidFill>
                <a:latin typeface="Roboto"/>
                <a:cs typeface="Robo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933" b="1" i="0">
                <a:solidFill>
                  <a:schemeClr val="tx1"/>
                </a:solidFill>
                <a:latin typeface="Roboto"/>
                <a:cs typeface="Roboto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6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939296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00776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3"/>
          <p:cNvSpPr/>
          <p:nvPr userDrawn="1"/>
        </p:nvSpPr>
        <p:spPr bwMode="gray">
          <a:xfrm>
            <a:off x="334963" y="333375"/>
            <a:ext cx="11522076" cy="6194450"/>
          </a:xfrm>
          <a:custGeom>
            <a:avLst/>
            <a:gdLst>
              <a:gd name="connsiteX0" fmla="*/ 0 w 11378159"/>
              <a:gd name="connsiteY0" fmla="*/ 0 h 6121399"/>
              <a:gd name="connsiteX1" fmla="*/ 11378159 w 11378159"/>
              <a:gd name="connsiteY1" fmla="*/ 942 h 6121399"/>
              <a:gd name="connsiteX2" fmla="*/ 8426450 w 11378159"/>
              <a:gd name="connsiteY2" fmla="*/ 5400670 h 6121399"/>
              <a:gd name="connsiteX3" fmla="*/ 342000 w 11378159"/>
              <a:gd name="connsiteY3" fmla="*/ 5400670 h 6121399"/>
              <a:gd name="connsiteX4" fmla="*/ 16115 w 11378159"/>
              <a:gd name="connsiteY4" fmla="*/ 6121399 h 6121399"/>
              <a:gd name="connsiteX5" fmla="*/ 0 w 11378159"/>
              <a:gd name="connsiteY5" fmla="*/ 6121399 h 6121399"/>
              <a:gd name="connsiteX6" fmla="*/ 0 w 11378159"/>
              <a:gd name="connsiteY6" fmla="*/ 5400670 h 6121399"/>
              <a:gd name="connsiteX7" fmla="*/ 0 w 11378159"/>
              <a:gd name="connsiteY7" fmla="*/ 5400669 h 6121399"/>
              <a:gd name="connsiteX8" fmla="*/ 0 w 11378159"/>
              <a:gd name="connsiteY8" fmla="*/ 0 h 6121399"/>
              <a:gd name="connsiteX0" fmla="*/ 0 w 11405868"/>
              <a:gd name="connsiteY0" fmla="*/ 0 h 6121399"/>
              <a:gd name="connsiteX1" fmla="*/ 11378159 w 11405868"/>
              <a:gd name="connsiteY1" fmla="*/ 942 h 6121399"/>
              <a:gd name="connsiteX2" fmla="*/ 11405868 w 11405868"/>
              <a:gd name="connsiteY2" fmla="*/ 5385812 h 6121399"/>
              <a:gd name="connsiteX3" fmla="*/ 342000 w 11405868"/>
              <a:gd name="connsiteY3" fmla="*/ 5400670 h 6121399"/>
              <a:gd name="connsiteX4" fmla="*/ 16115 w 11405868"/>
              <a:gd name="connsiteY4" fmla="*/ 6121399 h 6121399"/>
              <a:gd name="connsiteX5" fmla="*/ 0 w 11405868"/>
              <a:gd name="connsiteY5" fmla="*/ 6121399 h 6121399"/>
              <a:gd name="connsiteX6" fmla="*/ 0 w 11405868"/>
              <a:gd name="connsiteY6" fmla="*/ 5400670 h 6121399"/>
              <a:gd name="connsiteX7" fmla="*/ 0 w 11405868"/>
              <a:gd name="connsiteY7" fmla="*/ 5400669 h 6121399"/>
              <a:gd name="connsiteX8" fmla="*/ 0 w 11405868"/>
              <a:gd name="connsiteY8" fmla="*/ 0 h 6121399"/>
              <a:gd name="connsiteX0" fmla="*/ 0 w 11435443"/>
              <a:gd name="connsiteY0" fmla="*/ 0 h 6121399"/>
              <a:gd name="connsiteX1" fmla="*/ 11378159 w 11435443"/>
              <a:gd name="connsiteY1" fmla="*/ 942 h 6121399"/>
              <a:gd name="connsiteX2" fmla="*/ 11435443 w 11435443"/>
              <a:gd name="connsiteY2" fmla="*/ 5391814 h 6121399"/>
              <a:gd name="connsiteX3" fmla="*/ 342000 w 11435443"/>
              <a:gd name="connsiteY3" fmla="*/ 5400670 h 6121399"/>
              <a:gd name="connsiteX4" fmla="*/ 16115 w 11435443"/>
              <a:gd name="connsiteY4" fmla="*/ 6121399 h 6121399"/>
              <a:gd name="connsiteX5" fmla="*/ 0 w 11435443"/>
              <a:gd name="connsiteY5" fmla="*/ 6121399 h 6121399"/>
              <a:gd name="connsiteX6" fmla="*/ 0 w 11435443"/>
              <a:gd name="connsiteY6" fmla="*/ 5400670 h 6121399"/>
              <a:gd name="connsiteX7" fmla="*/ 0 w 11435443"/>
              <a:gd name="connsiteY7" fmla="*/ 5400669 h 6121399"/>
              <a:gd name="connsiteX8" fmla="*/ 0 w 11435443"/>
              <a:gd name="connsiteY8" fmla="*/ 0 h 6121399"/>
              <a:gd name="connsiteX0" fmla="*/ 0 w 11435443"/>
              <a:gd name="connsiteY0" fmla="*/ 0 h 6121399"/>
              <a:gd name="connsiteX1" fmla="*/ 11427225 w 11435443"/>
              <a:gd name="connsiteY1" fmla="*/ 942 h 6121399"/>
              <a:gd name="connsiteX2" fmla="*/ 11435443 w 11435443"/>
              <a:gd name="connsiteY2" fmla="*/ 5391814 h 6121399"/>
              <a:gd name="connsiteX3" fmla="*/ 342000 w 11435443"/>
              <a:gd name="connsiteY3" fmla="*/ 5400670 h 6121399"/>
              <a:gd name="connsiteX4" fmla="*/ 16115 w 11435443"/>
              <a:gd name="connsiteY4" fmla="*/ 6121399 h 6121399"/>
              <a:gd name="connsiteX5" fmla="*/ 0 w 11435443"/>
              <a:gd name="connsiteY5" fmla="*/ 6121399 h 6121399"/>
              <a:gd name="connsiteX6" fmla="*/ 0 w 11435443"/>
              <a:gd name="connsiteY6" fmla="*/ 5400670 h 6121399"/>
              <a:gd name="connsiteX7" fmla="*/ 0 w 11435443"/>
              <a:gd name="connsiteY7" fmla="*/ 5400669 h 6121399"/>
              <a:gd name="connsiteX8" fmla="*/ 0 w 11435443"/>
              <a:gd name="connsiteY8" fmla="*/ 0 h 6121399"/>
              <a:gd name="connsiteX0" fmla="*/ 0 w 11429964"/>
              <a:gd name="connsiteY0" fmla="*/ 0 h 6121399"/>
              <a:gd name="connsiteX1" fmla="*/ 11427225 w 11429964"/>
              <a:gd name="connsiteY1" fmla="*/ 942 h 6121399"/>
              <a:gd name="connsiteX2" fmla="*/ 11422061 w 11429964"/>
              <a:gd name="connsiteY2" fmla="*/ 5400735 h 6121399"/>
              <a:gd name="connsiteX3" fmla="*/ 342000 w 11429964"/>
              <a:gd name="connsiteY3" fmla="*/ 5400670 h 6121399"/>
              <a:gd name="connsiteX4" fmla="*/ 16115 w 11429964"/>
              <a:gd name="connsiteY4" fmla="*/ 6121399 h 6121399"/>
              <a:gd name="connsiteX5" fmla="*/ 0 w 11429964"/>
              <a:gd name="connsiteY5" fmla="*/ 6121399 h 6121399"/>
              <a:gd name="connsiteX6" fmla="*/ 0 w 11429964"/>
              <a:gd name="connsiteY6" fmla="*/ 5400670 h 6121399"/>
              <a:gd name="connsiteX7" fmla="*/ 0 w 11429964"/>
              <a:gd name="connsiteY7" fmla="*/ 5400669 h 6121399"/>
              <a:gd name="connsiteX8" fmla="*/ 0 w 11429964"/>
              <a:gd name="connsiteY8" fmla="*/ 0 h 6121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29964" h="6121399">
                <a:moveTo>
                  <a:pt x="0" y="0"/>
                </a:moveTo>
                <a:lnTo>
                  <a:pt x="11427225" y="942"/>
                </a:lnTo>
                <a:cubicBezTo>
                  <a:pt x="11429964" y="1797899"/>
                  <a:pt x="11419322" y="3603778"/>
                  <a:pt x="11422061" y="5400735"/>
                </a:cubicBezTo>
                <a:lnTo>
                  <a:pt x="342000" y="5400670"/>
                </a:lnTo>
                <a:lnTo>
                  <a:pt x="16115" y="6121399"/>
                </a:lnTo>
                <a:lnTo>
                  <a:pt x="0" y="6121399"/>
                </a:lnTo>
                <a:lnTo>
                  <a:pt x="0" y="5400670"/>
                </a:lnTo>
                <a:lnTo>
                  <a:pt x="0" y="5400669"/>
                </a:lnTo>
                <a:lnTo>
                  <a:pt x="0" y="0"/>
                </a:lnTo>
                <a:close/>
              </a:path>
            </a:pathLst>
          </a:custGeom>
          <a:noFill/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noProof="0"/>
          </a:p>
        </p:txBody>
      </p:sp>
      <p:pic>
        <p:nvPicPr>
          <p:cNvPr id="10" name="Grafik 9" descr="PPT_Logo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 bwMode="gray">
          <a:xfrm>
            <a:off x="10025785" y="6307504"/>
            <a:ext cx="1869952" cy="2697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23392" y="2636912"/>
            <a:ext cx="10873208" cy="79208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"/>
              <a:t>Formatvorlage des Untertitelmasters durch Klicken bearbeiten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392" y="638406"/>
            <a:ext cx="10873208" cy="1350434"/>
          </a:xfrm>
        </p:spPr>
        <p:txBody>
          <a:bodyPr anchor="t">
            <a:normAutofit/>
          </a:bodyPr>
          <a:lstStyle>
            <a:lvl1pPr algn="l">
              <a:defRPr sz="3500" b="0">
                <a:solidFill>
                  <a:schemeClr val="tx1"/>
                </a:solidFill>
              </a:defRPr>
            </a:lvl1pPr>
          </a:lstStyle>
          <a:p>
            <a:r>
              <a:rPr lang="de"/>
              <a:t>Titelmasterformat </a:t>
            </a:r>
            <a:br>
              <a:rPr lang="de-DE"/>
            </a:br>
            <a:r>
              <a:rPr lang="de"/>
              <a:t>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451978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233" b="0" i="0">
                <a:solidFill>
                  <a:schemeClr val="bg1"/>
                </a:solidFill>
                <a:latin typeface="Roboto"/>
                <a:cs typeface="Robo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933" b="1" i="0">
                <a:solidFill>
                  <a:schemeClr val="tx1"/>
                </a:solidFill>
                <a:latin typeface="Roboto"/>
                <a:cs typeface="Roboto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6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624921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233" b="0" i="0">
                <a:solidFill>
                  <a:schemeClr val="bg1"/>
                </a:solidFill>
                <a:latin typeface="Roboto"/>
                <a:cs typeface="Robo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6/2026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478817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233" b="0" i="0">
                <a:solidFill>
                  <a:schemeClr val="bg1"/>
                </a:solidFill>
                <a:latin typeface="Roboto"/>
                <a:cs typeface="Robo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6/2026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705208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6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093831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09707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pty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28876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0456309-DA2B-9005-D2B5-7AA87C5F44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40B828-65CE-FA4F-A036-5224136176EE}" type="datetimeFigureOut">
              <a:rPr lang="de-DE" smtClean="0"/>
              <a:t>16.03.2026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B32CA5-5C64-1877-A58E-45ABB788D4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4FD292-F8CB-6DCE-8103-E3E461E98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B7EB5-1B58-EC42-B350-B43F403EFB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56269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 bwMode="gray">
          <a:xfrm>
            <a:off x="432000" y="835199"/>
            <a:ext cx="11232000" cy="5472001"/>
          </a:xfrm>
        </p:spPr>
        <p:txBody>
          <a:bodyPr/>
          <a:lstStyle/>
          <a:p>
            <a:pPr lvl="0"/>
            <a:r>
              <a:rPr lang="en-US" noProof="0" dirty="0"/>
              <a:t>Edit text format of master</a:t>
            </a:r>
          </a:p>
          <a:p>
            <a:pPr lvl="1"/>
            <a:r>
              <a:rPr lang="en-US" noProof="0" dirty="0"/>
              <a:t>Level two</a:t>
            </a:r>
          </a:p>
          <a:p>
            <a:pPr lvl="2"/>
            <a:r>
              <a:rPr lang="en-US" noProof="0" dirty="0"/>
              <a:t>Level three</a:t>
            </a:r>
          </a:p>
          <a:p>
            <a:pPr lvl="3"/>
            <a:r>
              <a:rPr lang="en-US" noProof="0" dirty="0"/>
              <a:t>Level four</a:t>
            </a:r>
          </a:p>
          <a:p>
            <a:pPr lvl="4"/>
            <a:r>
              <a:rPr lang="en-US" noProof="0" dirty="0"/>
              <a:t>Level fiv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Edit title format of master</a:t>
            </a:r>
          </a:p>
        </p:txBody>
      </p:sp>
    </p:spTree>
    <p:extLst>
      <p:ext uri="{BB962C8B-B14F-4D97-AF65-F5344CB8AC3E}">
        <p14:creationId xmlns:p14="http://schemas.microsoft.com/office/powerpoint/2010/main" val="2635382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432000" y="835199"/>
            <a:ext cx="11232000" cy="5472001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58082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18429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3"/>
          <p:cNvSpPr/>
          <p:nvPr userDrawn="1"/>
        </p:nvSpPr>
        <p:spPr bwMode="gray">
          <a:xfrm>
            <a:off x="334963" y="333375"/>
            <a:ext cx="11522076" cy="6194450"/>
          </a:xfrm>
          <a:custGeom>
            <a:avLst/>
            <a:gdLst>
              <a:gd name="connsiteX0" fmla="*/ 0 w 11378159"/>
              <a:gd name="connsiteY0" fmla="*/ 0 h 6121399"/>
              <a:gd name="connsiteX1" fmla="*/ 11378159 w 11378159"/>
              <a:gd name="connsiteY1" fmla="*/ 942 h 6121399"/>
              <a:gd name="connsiteX2" fmla="*/ 8426450 w 11378159"/>
              <a:gd name="connsiteY2" fmla="*/ 5400670 h 6121399"/>
              <a:gd name="connsiteX3" fmla="*/ 342000 w 11378159"/>
              <a:gd name="connsiteY3" fmla="*/ 5400670 h 6121399"/>
              <a:gd name="connsiteX4" fmla="*/ 16115 w 11378159"/>
              <a:gd name="connsiteY4" fmla="*/ 6121399 h 6121399"/>
              <a:gd name="connsiteX5" fmla="*/ 0 w 11378159"/>
              <a:gd name="connsiteY5" fmla="*/ 6121399 h 6121399"/>
              <a:gd name="connsiteX6" fmla="*/ 0 w 11378159"/>
              <a:gd name="connsiteY6" fmla="*/ 5400670 h 6121399"/>
              <a:gd name="connsiteX7" fmla="*/ 0 w 11378159"/>
              <a:gd name="connsiteY7" fmla="*/ 5400669 h 6121399"/>
              <a:gd name="connsiteX8" fmla="*/ 0 w 11378159"/>
              <a:gd name="connsiteY8" fmla="*/ 0 h 6121399"/>
              <a:gd name="connsiteX0" fmla="*/ 0 w 11405868"/>
              <a:gd name="connsiteY0" fmla="*/ 0 h 6121399"/>
              <a:gd name="connsiteX1" fmla="*/ 11378159 w 11405868"/>
              <a:gd name="connsiteY1" fmla="*/ 942 h 6121399"/>
              <a:gd name="connsiteX2" fmla="*/ 11405868 w 11405868"/>
              <a:gd name="connsiteY2" fmla="*/ 5385812 h 6121399"/>
              <a:gd name="connsiteX3" fmla="*/ 342000 w 11405868"/>
              <a:gd name="connsiteY3" fmla="*/ 5400670 h 6121399"/>
              <a:gd name="connsiteX4" fmla="*/ 16115 w 11405868"/>
              <a:gd name="connsiteY4" fmla="*/ 6121399 h 6121399"/>
              <a:gd name="connsiteX5" fmla="*/ 0 w 11405868"/>
              <a:gd name="connsiteY5" fmla="*/ 6121399 h 6121399"/>
              <a:gd name="connsiteX6" fmla="*/ 0 w 11405868"/>
              <a:gd name="connsiteY6" fmla="*/ 5400670 h 6121399"/>
              <a:gd name="connsiteX7" fmla="*/ 0 w 11405868"/>
              <a:gd name="connsiteY7" fmla="*/ 5400669 h 6121399"/>
              <a:gd name="connsiteX8" fmla="*/ 0 w 11405868"/>
              <a:gd name="connsiteY8" fmla="*/ 0 h 6121399"/>
              <a:gd name="connsiteX0" fmla="*/ 0 w 11435443"/>
              <a:gd name="connsiteY0" fmla="*/ 0 h 6121399"/>
              <a:gd name="connsiteX1" fmla="*/ 11378159 w 11435443"/>
              <a:gd name="connsiteY1" fmla="*/ 942 h 6121399"/>
              <a:gd name="connsiteX2" fmla="*/ 11435443 w 11435443"/>
              <a:gd name="connsiteY2" fmla="*/ 5391814 h 6121399"/>
              <a:gd name="connsiteX3" fmla="*/ 342000 w 11435443"/>
              <a:gd name="connsiteY3" fmla="*/ 5400670 h 6121399"/>
              <a:gd name="connsiteX4" fmla="*/ 16115 w 11435443"/>
              <a:gd name="connsiteY4" fmla="*/ 6121399 h 6121399"/>
              <a:gd name="connsiteX5" fmla="*/ 0 w 11435443"/>
              <a:gd name="connsiteY5" fmla="*/ 6121399 h 6121399"/>
              <a:gd name="connsiteX6" fmla="*/ 0 w 11435443"/>
              <a:gd name="connsiteY6" fmla="*/ 5400670 h 6121399"/>
              <a:gd name="connsiteX7" fmla="*/ 0 w 11435443"/>
              <a:gd name="connsiteY7" fmla="*/ 5400669 h 6121399"/>
              <a:gd name="connsiteX8" fmla="*/ 0 w 11435443"/>
              <a:gd name="connsiteY8" fmla="*/ 0 h 6121399"/>
              <a:gd name="connsiteX0" fmla="*/ 0 w 11435443"/>
              <a:gd name="connsiteY0" fmla="*/ 0 h 6121399"/>
              <a:gd name="connsiteX1" fmla="*/ 11427225 w 11435443"/>
              <a:gd name="connsiteY1" fmla="*/ 942 h 6121399"/>
              <a:gd name="connsiteX2" fmla="*/ 11435443 w 11435443"/>
              <a:gd name="connsiteY2" fmla="*/ 5391814 h 6121399"/>
              <a:gd name="connsiteX3" fmla="*/ 342000 w 11435443"/>
              <a:gd name="connsiteY3" fmla="*/ 5400670 h 6121399"/>
              <a:gd name="connsiteX4" fmla="*/ 16115 w 11435443"/>
              <a:gd name="connsiteY4" fmla="*/ 6121399 h 6121399"/>
              <a:gd name="connsiteX5" fmla="*/ 0 w 11435443"/>
              <a:gd name="connsiteY5" fmla="*/ 6121399 h 6121399"/>
              <a:gd name="connsiteX6" fmla="*/ 0 w 11435443"/>
              <a:gd name="connsiteY6" fmla="*/ 5400670 h 6121399"/>
              <a:gd name="connsiteX7" fmla="*/ 0 w 11435443"/>
              <a:gd name="connsiteY7" fmla="*/ 5400669 h 6121399"/>
              <a:gd name="connsiteX8" fmla="*/ 0 w 11435443"/>
              <a:gd name="connsiteY8" fmla="*/ 0 h 6121399"/>
              <a:gd name="connsiteX0" fmla="*/ 0 w 11429964"/>
              <a:gd name="connsiteY0" fmla="*/ 0 h 6121399"/>
              <a:gd name="connsiteX1" fmla="*/ 11427225 w 11429964"/>
              <a:gd name="connsiteY1" fmla="*/ 942 h 6121399"/>
              <a:gd name="connsiteX2" fmla="*/ 11422061 w 11429964"/>
              <a:gd name="connsiteY2" fmla="*/ 5400735 h 6121399"/>
              <a:gd name="connsiteX3" fmla="*/ 342000 w 11429964"/>
              <a:gd name="connsiteY3" fmla="*/ 5400670 h 6121399"/>
              <a:gd name="connsiteX4" fmla="*/ 16115 w 11429964"/>
              <a:gd name="connsiteY4" fmla="*/ 6121399 h 6121399"/>
              <a:gd name="connsiteX5" fmla="*/ 0 w 11429964"/>
              <a:gd name="connsiteY5" fmla="*/ 6121399 h 6121399"/>
              <a:gd name="connsiteX6" fmla="*/ 0 w 11429964"/>
              <a:gd name="connsiteY6" fmla="*/ 5400670 h 6121399"/>
              <a:gd name="connsiteX7" fmla="*/ 0 w 11429964"/>
              <a:gd name="connsiteY7" fmla="*/ 5400669 h 6121399"/>
              <a:gd name="connsiteX8" fmla="*/ 0 w 11429964"/>
              <a:gd name="connsiteY8" fmla="*/ 0 h 6121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29964" h="6121399">
                <a:moveTo>
                  <a:pt x="0" y="0"/>
                </a:moveTo>
                <a:lnTo>
                  <a:pt x="11427225" y="942"/>
                </a:lnTo>
                <a:cubicBezTo>
                  <a:pt x="11429964" y="1797899"/>
                  <a:pt x="11419322" y="3603778"/>
                  <a:pt x="11422061" y="5400735"/>
                </a:cubicBezTo>
                <a:lnTo>
                  <a:pt x="342000" y="5400670"/>
                </a:lnTo>
                <a:lnTo>
                  <a:pt x="16115" y="6121399"/>
                </a:lnTo>
                <a:lnTo>
                  <a:pt x="0" y="6121399"/>
                </a:lnTo>
                <a:lnTo>
                  <a:pt x="0" y="5400670"/>
                </a:lnTo>
                <a:lnTo>
                  <a:pt x="0" y="540066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000">
                <a:srgbClr val="001A3A"/>
              </a:gs>
              <a:gs pos="35000">
                <a:schemeClr val="tx1"/>
              </a:gs>
              <a:gs pos="100000">
                <a:srgbClr val="517EBF"/>
              </a:gs>
            </a:gsLst>
            <a:lin ang="189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noProof="0"/>
          </a:p>
        </p:txBody>
      </p:sp>
      <p:pic>
        <p:nvPicPr>
          <p:cNvPr id="10" name="Grafik 9" descr="PPT_Logo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 bwMode="gray">
          <a:xfrm>
            <a:off x="10025785" y="6307504"/>
            <a:ext cx="1869952" cy="2697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23392" y="2636912"/>
            <a:ext cx="10873208" cy="79208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"/>
              <a:t>Formatvorlage des Untertitelmasters durch Klicken bearbeiten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392" y="638406"/>
            <a:ext cx="10873208" cy="1350434"/>
          </a:xfrm>
        </p:spPr>
        <p:txBody>
          <a:bodyPr anchor="t">
            <a:normAutofit/>
          </a:bodyPr>
          <a:lstStyle>
            <a:lvl1pPr algn="l">
              <a:defRPr sz="3500" b="0">
                <a:solidFill>
                  <a:schemeClr val="bg1"/>
                </a:solidFill>
              </a:defRPr>
            </a:lvl1pPr>
          </a:lstStyle>
          <a:p>
            <a:r>
              <a:rPr lang="de"/>
              <a:t>Titelmasterformat </a:t>
            </a:r>
            <a:br>
              <a:rPr lang="de-DE"/>
            </a:br>
            <a:r>
              <a:rPr lang="de"/>
              <a:t>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35965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19538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>
          <a:xfrm>
            <a:off x="334963" y="332655"/>
            <a:ext cx="11522075" cy="5617295"/>
          </a:xfrm>
          <a:prstGeom prst="rect">
            <a:avLst/>
          </a:prstGeom>
          <a:gradFill flip="none" rotWithShape="1">
            <a:gsLst>
              <a:gs pos="5000">
                <a:srgbClr val="001A3A"/>
              </a:gs>
              <a:gs pos="35000">
                <a:schemeClr val="tx1"/>
              </a:gs>
              <a:gs pos="100000">
                <a:srgbClr val="517EBF"/>
              </a:gs>
            </a:gsLst>
            <a:lin ang="189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/>
          </a:p>
        </p:txBody>
      </p:sp>
      <p:pic>
        <p:nvPicPr>
          <p:cNvPr id="10" name="Grafik 9" descr="PPT_Logo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 bwMode="gray">
          <a:xfrm>
            <a:off x="10025785" y="6307504"/>
            <a:ext cx="1869952" cy="269749"/>
          </a:xfrm>
          <a:prstGeom prst="rect">
            <a:avLst/>
          </a:prstGeom>
        </p:spPr>
      </p:pic>
      <p:sp>
        <p:nvSpPr>
          <p:cNvPr id="11" name="Rechteck 3"/>
          <p:cNvSpPr/>
          <p:nvPr userDrawn="1"/>
        </p:nvSpPr>
        <p:spPr bwMode="gray">
          <a:xfrm>
            <a:off x="623393" y="612505"/>
            <a:ext cx="7500356" cy="5106123"/>
          </a:xfrm>
          <a:custGeom>
            <a:avLst/>
            <a:gdLst>
              <a:gd name="connsiteX0" fmla="*/ 0 w 11378159"/>
              <a:gd name="connsiteY0" fmla="*/ 0 h 6121399"/>
              <a:gd name="connsiteX1" fmla="*/ 11378159 w 11378159"/>
              <a:gd name="connsiteY1" fmla="*/ 942 h 6121399"/>
              <a:gd name="connsiteX2" fmla="*/ 8426450 w 11378159"/>
              <a:gd name="connsiteY2" fmla="*/ 5400670 h 6121399"/>
              <a:gd name="connsiteX3" fmla="*/ 342000 w 11378159"/>
              <a:gd name="connsiteY3" fmla="*/ 5400670 h 6121399"/>
              <a:gd name="connsiteX4" fmla="*/ 16115 w 11378159"/>
              <a:gd name="connsiteY4" fmla="*/ 6121399 h 6121399"/>
              <a:gd name="connsiteX5" fmla="*/ 0 w 11378159"/>
              <a:gd name="connsiteY5" fmla="*/ 6121399 h 6121399"/>
              <a:gd name="connsiteX6" fmla="*/ 0 w 11378159"/>
              <a:gd name="connsiteY6" fmla="*/ 5400670 h 6121399"/>
              <a:gd name="connsiteX7" fmla="*/ 0 w 11378159"/>
              <a:gd name="connsiteY7" fmla="*/ 5400669 h 6121399"/>
              <a:gd name="connsiteX8" fmla="*/ 0 w 11378159"/>
              <a:gd name="connsiteY8" fmla="*/ 0 h 6121399"/>
              <a:gd name="connsiteX0" fmla="*/ 0 w 11405868"/>
              <a:gd name="connsiteY0" fmla="*/ 0 h 6121399"/>
              <a:gd name="connsiteX1" fmla="*/ 11378159 w 11405868"/>
              <a:gd name="connsiteY1" fmla="*/ 942 h 6121399"/>
              <a:gd name="connsiteX2" fmla="*/ 11405868 w 11405868"/>
              <a:gd name="connsiteY2" fmla="*/ 5385812 h 6121399"/>
              <a:gd name="connsiteX3" fmla="*/ 342000 w 11405868"/>
              <a:gd name="connsiteY3" fmla="*/ 5400670 h 6121399"/>
              <a:gd name="connsiteX4" fmla="*/ 16115 w 11405868"/>
              <a:gd name="connsiteY4" fmla="*/ 6121399 h 6121399"/>
              <a:gd name="connsiteX5" fmla="*/ 0 w 11405868"/>
              <a:gd name="connsiteY5" fmla="*/ 6121399 h 6121399"/>
              <a:gd name="connsiteX6" fmla="*/ 0 w 11405868"/>
              <a:gd name="connsiteY6" fmla="*/ 5400670 h 6121399"/>
              <a:gd name="connsiteX7" fmla="*/ 0 w 11405868"/>
              <a:gd name="connsiteY7" fmla="*/ 5400669 h 6121399"/>
              <a:gd name="connsiteX8" fmla="*/ 0 w 11405868"/>
              <a:gd name="connsiteY8" fmla="*/ 0 h 6121399"/>
              <a:gd name="connsiteX0" fmla="*/ 0 w 11435443"/>
              <a:gd name="connsiteY0" fmla="*/ 0 h 6121399"/>
              <a:gd name="connsiteX1" fmla="*/ 11378159 w 11435443"/>
              <a:gd name="connsiteY1" fmla="*/ 942 h 6121399"/>
              <a:gd name="connsiteX2" fmla="*/ 11435443 w 11435443"/>
              <a:gd name="connsiteY2" fmla="*/ 5391814 h 6121399"/>
              <a:gd name="connsiteX3" fmla="*/ 342000 w 11435443"/>
              <a:gd name="connsiteY3" fmla="*/ 5400670 h 6121399"/>
              <a:gd name="connsiteX4" fmla="*/ 16115 w 11435443"/>
              <a:gd name="connsiteY4" fmla="*/ 6121399 h 6121399"/>
              <a:gd name="connsiteX5" fmla="*/ 0 w 11435443"/>
              <a:gd name="connsiteY5" fmla="*/ 6121399 h 6121399"/>
              <a:gd name="connsiteX6" fmla="*/ 0 w 11435443"/>
              <a:gd name="connsiteY6" fmla="*/ 5400670 h 6121399"/>
              <a:gd name="connsiteX7" fmla="*/ 0 w 11435443"/>
              <a:gd name="connsiteY7" fmla="*/ 5400669 h 6121399"/>
              <a:gd name="connsiteX8" fmla="*/ 0 w 11435443"/>
              <a:gd name="connsiteY8" fmla="*/ 0 h 6121399"/>
              <a:gd name="connsiteX0" fmla="*/ 0 w 11435443"/>
              <a:gd name="connsiteY0" fmla="*/ 0 h 6121399"/>
              <a:gd name="connsiteX1" fmla="*/ 11427225 w 11435443"/>
              <a:gd name="connsiteY1" fmla="*/ 942 h 6121399"/>
              <a:gd name="connsiteX2" fmla="*/ 11435443 w 11435443"/>
              <a:gd name="connsiteY2" fmla="*/ 5391814 h 6121399"/>
              <a:gd name="connsiteX3" fmla="*/ 342000 w 11435443"/>
              <a:gd name="connsiteY3" fmla="*/ 5400670 h 6121399"/>
              <a:gd name="connsiteX4" fmla="*/ 16115 w 11435443"/>
              <a:gd name="connsiteY4" fmla="*/ 6121399 h 6121399"/>
              <a:gd name="connsiteX5" fmla="*/ 0 w 11435443"/>
              <a:gd name="connsiteY5" fmla="*/ 6121399 h 6121399"/>
              <a:gd name="connsiteX6" fmla="*/ 0 w 11435443"/>
              <a:gd name="connsiteY6" fmla="*/ 5400670 h 6121399"/>
              <a:gd name="connsiteX7" fmla="*/ 0 w 11435443"/>
              <a:gd name="connsiteY7" fmla="*/ 5400669 h 6121399"/>
              <a:gd name="connsiteX8" fmla="*/ 0 w 11435443"/>
              <a:gd name="connsiteY8" fmla="*/ 0 h 6121399"/>
              <a:gd name="connsiteX0" fmla="*/ 0 w 11429964"/>
              <a:gd name="connsiteY0" fmla="*/ 0 h 6121399"/>
              <a:gd name="connsiteX1" fmla="*/ 11427225 w 11429964"/>
              <a:gd name="connsiteY1" fmla="*/ 942 h 6121399"/>
              <a:gd name="connsiteX2" fmla="*/ 11422061 w 11429964"/>
              <a:gd name="connsiteY2" fmla="*/ 5400735 h 6121399"/>
              <a:gd name="connsiteX3" fmla="*/ 342000 w 11429964"/>
              <a:gd name="connsiteY3" fmla="*/ 5400670 h 6121399"/>
              <a:gd name="connsiteX4" fmla="*/ 16115 w 11429964"/>
              <a:gd name="connsiteY4" fmla="*/ 6121399 h 6121399"/>
              <a:gd name="connsiteX5" fmla="*/ 0 w 11429964"/>
              <a:gd name="connsiteY5" fmla="*/ 6121399 h 6121399"/>
              <a:gd name="connsiteX6" fmla="*/ 0 w 11429964"/>
              <a:gd name="connsiteY6" fmla="*/ 5400670 h 6121399"/>
              <a:gd name="connsiteX7" fmla="*/ 0 w 11429964"/>
              <a:gd name="connsiteY7" fmla="*/ 5400669 h 6121399"/>
              <a:gd name="connsiteX8" fmla="*/ 0 w 11429964"/>
              <a:gd name="connsiteY8" fmla="*/ 0 h 6121399"/>
              <a:gd name="connsiteX0" fmla="*/ 0 w 14087002"/>
              <a:gd name="connsiteY0" fmla="*/ 0 h 6121399"/>
              <a:gd name="connsiteX1" fmla="*/ 14087000 w 14087002"/>
              <a:gd name="connsiteY1" fmla="*/ 941 h 6121399"/>
              <a:gd name="connsiteX2" fmla="*/ 11422061 w 14087002"/>
              <a:gd name="connsiteY2" fmla="*/ 5400735 h 6121399"/>
              <a:gd name="connsiteX3" fmla="*/ 342000 w 14087002"/>
              <a:gd name="connsiteY3" fmla="*/ 5400670 h 6121399"/>
              <a:gd name="connsiteX4" fmla="*/ 16115 w 14087002"/>
              <a:gd name="connsiteY4" fmla="*/ 6121399 h 6121399"/>
              <a:gd name="connsiteX5" fmla="*/ 0 w 14087002"/>
              <a:gd name="connsiteY5" fmla="*/ 6121399 h 6121399"/>
              <a:gd name="connsiteX6" fmla="*/ 0 w 14087002"/>
              <a:gd name="connsiteY6" fmla="*/ 5400670 h 6121399"/>
              <a:gd name="connsiteX7" fmla="*/ 0 w 14087002"/>
              <a:gd name="connsiteY7" fmla="*/ 5400669 h 6121399"/>
              <a:gd name="connsiteX8" fmla="*/ 0 w 14087002"/>
              <a:gd name="connsiteY8" fmla="*/ 0 h 6121399"/>
              <a:gd name="connsiteX0" fmla="*/ 0 w 14087163"/>
              <a:gd name="connsiteY0" fmla="*/ 0 h 6121399"/>
              <a:gd name="connsiteX1" fmla="*/ 14087000 w 14087163"/>
              <a:gd name="connsiteY1" fmla="*/ 941 h 6121399"/>
              <a:gd name="connsiteX2" fmla="*/ 14059943 w 14087163"/>
              <a:gd name="connsiteY2" fmla="*/ 5400736 h 6121399"/>
              <a:gd name="connsiteX3" fmla="*/ 342000 w 14087163"/>
              <a:gd name="connsiteY3" fmla="*/ 5400670 h 6121399"/>
              <a:gd name="connsiteX4" fmla="*/ 16115 w 14087163"/>
              <a:gd name="connsiteY4" fmla="*/ 6121399 h 6121399"/>
              <a:gd name="connsiteX5" fmla="*/ 0 w 14087163"/>
              <a:gd name="connsiteY5" fmla="*/ 6121399 h 6121399"/>
              <a:gd name="connsiteX6" fmla="*/ 0 w 14087163"/>
              <a:gd name="connsiteY6" fmla="*/ 5400670 h 6121399"/>
              <a:gd name="connsiteX7" fmla="*/ 0 w 14087163"/>
              <a:gd name="connsiteY7" fmla="*/ 5400669 h 6121399"/>
              <a:gd name="connsiteX8" fmla="*/ 0 w 14087163"/>
              <a:gd name="connsiteY8" fmla="*/ 0 h 6121399"/>
              <a:gd name="connsiteX0" fmla="*/ 0 w 14087163"/>
              <a:gd name="connsiteY0" fmla="*/ 0 h 6121399"/>
              <a:gd name="connsiteX1" fmla="*/ 14087000 w 14087163"/>
              <a:gd name="connsiteY1" fmla="*/ 941 h 6121399"/>
              <a:gd name="connsiteX2" fmla="*/ 14059943 w 14087163"/>
              <a:gd name="connsiteY2" fmla="*/ 5368026 h 6121399"/>
              <a:gd name="connsiteX3" fmla="*/ 342000 w 14087163"/>
              <a:gd name="connsiteY3" fmla="*/ 5400670 h 6121399"/>
              <a:gd name="connsiteX4" fmla="*/ 16115 w 14087163"/>
              <a:gd name="connsiteY4" fmla="*/ 6121399 h 6121399"/>
              <a:gd name="connsiteX5" fmla="*/ 0 w 14087163"/>
              <a:gd name="connsiteY5" fmla="*/ 6121399 h 6121399"/>
              <a:gd name="connsiteX6" fmla="*/ 0 w 14087163"/>
              <a:gd name="connsiteY6" fmla="*/ 5400670 h 6121399"/>
              <a:gd name="connsiteX7" fmla="*/ 0 w 14087163"/>
              <a:gd name="connsiteY7" fmla="*/ 5400669 h 6121399"/>
              <a:gd name="connsiteX8" fmla="*/ 0 w 14087163"/>
              <a:gd name="connsiteY8" fmla="*/ 0 h 6121399"/>
              <a:gd name="connsiteX0" fmla="*/ 0 w 14087163"/>
              <a:gd name="connsiteY0" fmla="*/ 1536475 h 6120458"/>
              <a:gd name="connsiteX1" fmla="*/ 14087000 w 14087163"/>
              <a:gd name="connsiteY1" fmla="*/ 0 h 6120458"/>
              <a:gd name="connsiteX2" fmla="*/ 14059943 w 14087163"/>
              <a:gd name="connsiteY2" fmla="*/ 5367085 h 6120458"/>
              <a:gd name="connsiteX3" fmla="*/ 342000 w 14087163"/>
              <a:gd name="connsiteY3" fmla="*/ 5399729 h 6120458"/>
              <a:gd name="connsiteX4" fmla="*/ 16115 w 14087163"/>
              <a:gd name="connsiteY4" fmla="*/ 6120458 h 6120458"/>
              <a:gd name="connsiteX5" fmla="*/ 0 w 14087163"/>
              <a:gd name="connsiteY5" fmla="*/ 6120458 h 6120458"/>
              <a:gd name="connsiteX6" fmla="*/ 0 w 14087163"/>
              <a:gd name="connsiteY6" fmla="*/ 5399729 h 6120458"/>
              <a:gd name="connsiteX7" fmla="*/ 0 w 14087163"/>
              <a:gd name="connsiteY7" fmla="*/ 5399728 h 6120458"/>
              <a:gd name="connsiteX8" fmla="*/ 0 w 14087163"/>
              <a:gd name="connsiteY8" fmla="*/ 1536475 h 6120458"/>
              <a:gd name="connsiteX0" fmla="*/ 0 w 14076293"/>
              <a:gd name="connsiteY0" fmla="*/ 64482 h 4648465"/>
              <a:gd name="connsiteX1" fmla="*/ 14076053 w 14076293"/>
              <a:gd name="connsiteY1" fmla="*/ 0 h 4648465"/>
              <a:gd name="connsiteX2" fmla="*/ 14059943 w 14076293"/>
              <a:gd name="connsiteY2" fmla="*/ 3895092 h 4648465"/>
              <a:gd name="connsiteX3" fmla="*/ 342000 w 14076293"/>
              <a:gd name="connsiteY3" fmla="*/ 3927736 h 4648465"/>
              <a:gd name="connsiteX4" fmla="*/ 16115 w 14076293"/>
              <a:gd name="connsiteY4" fmla="*/ 4648465 h 4648465"/>
              <a:gd name="connsiteX5" fmla="*/ 0 w 14076293"/>
              <a:gd name="connsiteY5" fmla="*/ 4648465 h 4648465"/>
              <a:gd name="connsiteX6" fmla="*/ 0 w 14076293"/>
              <a:gd name="connsiteY6" fmla="*/ 3927736 h 4648465"/>
              <a:gd name="connsiteX7" fmla="*/ 0 w 14076293"/>
              <a:gd name="connsiteY7" fmla="*/ 3927735 h 4648465"/>
              <a:gd name="connsiteX8" fmla="*/ 0 w 14076293"/>
              <a:gd name="connsiteY8" fmla="*/ 64482 h 4648465"/>
              <a:gd name="connsiteX0" fmla="*/ 0 w 14076293"/>
              <a:gd name="connsiteY0" fmla="*/ 20867 h 4648465"/>
              <a:gd name="connsiteX1" fmla="*/ 14076053 w 14076293"/>
              <a:gd name="connsiteY1" fmla="*/ 0 h 4648465"/>
              <a:gd name="connsiteX2" fmla="*/ 14059943 w 14076293"/>
              <a:gd name="connsiteY2" fmla="*/ 3895092 h 4648465"/>
              <a:gd name="connsiteX3" fmla="*/ 342000 w 14076293"/>
              <a:gd name="connsiteY3" fmla="*/ 3927736 h 4648465"/>
              <a:gd name="connsiteX4" fmla="*/ 16115 w 14076293"/>
              <a:gd name="connsiteY4" fmla="*/ 4648465 h 4648465"/>
              <a:gd name="connsiteX5" fmla="*/ 0 w 14076293"/>
              <a:gd name="connsiteY5" fmla="*/ 4648465 h 4648465"/>
              <a:gd name="connsiteX6" fmla="*/ 0 w 14076293"/>
              <a:gd name="connsiteY6" fmla="*/ 3927736 h 4648465"/>
              <a:gd name="connsiteX7" fmla="*/ 0 w 14076293"/>
              <a:gd name="connsiteY7" fmla="*/ 3927735 h 4648465"/>
              <a:gd name="connsiteX8" fmla="*/ 0 w 14076293"/>
              <a:gd name="connsiteY8" fmla="*/ 20867 h 4648465"/>
              <a:gd name="connsiteX0" fmla="*/ 0 w 14076293"/>
              <a:gd name="connsiteY0" fmla="*/ 0 h 4660309"/>
              <a:gd name="connsiteX1" fmla="*/ 14076053 w 14076293"/>
              <a:gd name="connsiteY1" fmla="*/ 11844 h 4660309"/>
              <a:gd name="connsiteX2" fmla="*/ 14059943 w 14076293"/>
              <a:gd name="connsiteY2" fmla="*/ 3906936 h 4660309"/>
              <a:gd name="connsiteX3" fmla="*/ 342000 w 14076293"/>
              <a:gd name="connsiteY3" fmla="*/ 3939580 h 4660309"/>
              <a:gd name="connsiteX4" fmla="*/ 16115 w 14076293"/>
              <a:gd name="connsiteY4" fmla="*/ 4660309 h 4660309"/>
              <a:gd name="connsiteX5" fmla="*/ 0 w 14076293"/>
              <a:gd name="connsiteY5" fmla="*/ 4660309 h 4660309"/>
              <a:gd name="connsiteX6" fmla="*/ 0 w 14076293"/>
              <a:gd name="connsiteY6" fmla="*/ 3939580 h 4660309"/>
              <a:gd name="connsiteX7" fmla="*/ 0 w 14076293"/>
              <a:gd name="connsiteY7" fmla="*/ 3939579 h 4660309"/>
              <a:gd name="connsiteX8" fmla="*/ 0 w 14076293"/>
              <a:gd name="connsiteY8" fmla="*/ 0 h 4660309"/>
              <a:gd name="connsiteX0" fmla="*/ 0 w 14076293"/>
              <a:gd name="connsiteY0" fmla="*/ 20867 h 4648465"/>
              <a:gd name="connsiteX1" fmla="*/ 14076053 w 14076293"/>
              <a:gd name="connsiteY1" fmla="*/ 0 h 4648465"/>
              <a:gd name="connsiteX2" fmla="*/ 14059943 w 14076293"/>
              <a:gd name="connsiteY2" fmla="*/ 3895092 h 4648465"/>
              <a:gd name="connsiteX3" fmla="*/ 342000 w 14076293"/>
              <a:gd name="connsiteY3" fmla="*/ 3927736 h 4648465"/>
              <a:gd name="connsiteX4" fmla="*/ 16115 w 14076293"/>
              <a:gd name="connsiteY4" fmla="*/ 4648465 h 4648465"/>
              <a:gd name="connsiteX5" fmla="*/ 0 w 14076293"/>
              <a:gd name="connsiteY5" fmla="*/ 4648465 h 4648465"/>
              <a:gd name="connsiteX6" fmla="*/ 0 w 14076293"/>
              <a:gd name="connsiteY6" fmla="*/ 3927736 h 4648465"/>
              <a:gd name="connsiteX7" fmla="*/ 0 w 14076293"/>
              <a:gd name="connsiteY7" fmla="*/ 3927735 h 4648465"/>
              <a:gd name="connsiteX8" fmla="*/ 0 w 14076293"/>
              <a:gd name="connsiteY8" fmla="*/ 20867 h 4648465"/>
              <a:gd name="connsiteX0" fmla="*/ 0 w 14076293"/>
              <a:gd name="connsiteY0" fmla="*/ 0 h 4660309"/>
              <a:gd name="connsiteX1" fmla="*/ 14076053 w 14076293"/>
              <a:gd name="connsiteY1" fmla="*/ 11844 h 4660309"/>
              <a:gd name="connsiteX2" fmla="*/ 14059943 w 14076293"/>
              <a:gd name="connsiteY2" fmla="*/ 3906936 h 4660309"/>
              <a:gd name="connsiteX3" fmla="*/ 342000 w 14076293"/>
              <a:gd name="connsiteY3" fmla="*/ 3939580 h 4660309"/>
              <a:gd name="connsiteX4" fmla="*/ 16115 w 14076293"/>
              <a:gd name="connsiteY4" fmla="*/ 4660309 h 4660309"/>
              <a:gd name="connsiteX5" fmla="*/ 0 w 14076293"/>
              <a:gd name="connsiteY5" fmla="*/ 4660309 h 4660309"/>
              <a:gd name="connsiteX6" fmla="*/ 0 w 14076293"/>
              <a:gd name="connsiteY6" fmla="*/ 3939580 h 4660309"/>
              <a:gd name="connsiteX7" fmla="*/ 0 w 14076293"/>
              <a:gd name="connsiteY7" fmla="*/ 3939579 h 4660309"/>
              <a:gd name="connsiteX8" fmla="*/ 0 w 14076293"/>
              <a:gd name="connsiteY8" fmla="*/ 0 h 4660309"/>
              <a:gd name="connsiteX0" fmla="*/ 0 w 14076293"/>
              <a:gd name="connsiteY0" fmla="*/ 9963 h 4648465"/>
              <a:gd name="connsiteX1" fmla="*/ 14076053 w 14076293"/>
              <a:gd name="connsiteY1" fmla="*/ 0 h 4648465"/>
              <a:gd name="connsiteX2" fmla="*/ 14059943 w 14076293"/>
              <a:gd name="connsiteY2" fmla="*/ 3895092 h 4648465"/>
              <a:gd name="connsiteX3" fmla="*/ 342000 w 14076293"/>
              <a:gd name="connsiteY3" fmla="*/ 3927736 h 4648465"/>
              <a:gd name="connsiteX4" fmla="*/ 16115 w 14076293"/>
              <a:gd name="connsiteY4" fmla="*/ 4648465 h 4648465"/>
              <a:gd name="connsiteX5" fmla="*/ 0 w 14076293"/>
              <a:gd name="connsiteY5" fmla="*/ 4648465 h 4648465"/>
              <a:gd name="connsiteX6" fmla="*/ 0 w 14076293"/>
              <a:gd name="connsiteY6" fmla="*/ 3927736 h 4648465"/>
              <a:gd name="connsiteX7" fmla="*/ 0 w 14076293"/>
              <a:gd name="connsiteY7" fmla="*/ 3927735 h 4648465"/>
              <a:gd name="connsiteX8" fmla="*/ 0 w 14076293"/>
              <a:gd name="connsiteY8" fmla="*/ 9963 h 4648465"/>
              <a:gd name="connsiteX0" fmla="*/ 10946 w 14076293"/>
              <a:gd name="connsiteY0" fmla="*/ 0 h 4660309"/>
              <a:gd name="connsiteX1" fmla="*/ 14076053 w 14076293"/>
              <a:gd name="connsiteY1" fmla="*/ 11844 h 4660309"/>
              <a:gd name="connsiteX2" fmla="*/ 14059943 w 14076293"/>
              <a:gd name="connsiteY2" fmla="*/ 3906936 h 4660309"/>
              <a:gd name="connsiteX3" fmla="*/ 342000 w 14076293"/>
              <a:gd name="connsiteY3" fmla="*/ 3939580 h 4660309"/>
              <a:gd name="connsiteX4" fmla="*/ 16115 w 14076293"/>
              <a:gd name="connsiteY4" fmla="*/ 4660309 h 4660309"/>
              <a:gd name="connsiteX5" fmla="*/ 0 w 14076293"/>
              <a:gd name="connsiteY5" fmla="*/ 4660309 h 4660309"/>
              <a:gd name="connsiteX6" fmla="*/ 0 w 14076293"/>
              <a:gd name="connsiteY6" fmla="*/ 3939580 h 4660309"/>
              <a:gd name="connsiteX7" fmla="*/ 0 w 14076293"/>
              <a:gd name="connsiteY7" fmla="*/ 3939579 h 4660309"/>
              <a:gd name="connsiteX8" fmla="*/ 10946 w 14076293"/>
              <a:gd name="connsiteY8" fmla="*/ 0 h 4660309"/>
              <a:gd name="connsiteX0" fmla="*/ 10946 w 14076052"/>
              <a:gd name="connsiteY0" fmla="*/ 0 h 4660309"/>
              <a:gd name="connsiteX1" fmla="*/ 14076053 w 14076052"/>
              <a:gd name="connsiteY1" fmla="*/ 11844 h 4660309"/>
              <a:gd name="connsiteX2" fmla="*/ 7372199 w 14076052"/>
              <a:gd name="connsiteY2" fmla="*/ 3917840 h 4660309"/>
              <a:gd name="connsiteX3" fmla="*/ 342000 w 14076052"/>
              <a:gd name="connsiteY3" fmla="*/ 3939580 h 4660309"/>
              <a:gd name="connsiteX4" fmla="*/ 16115 w 14076052"/>
              <a:gd name="connsiteY4" fmla="*/ 4660309 h 4660309"/>
              <a:gd name="connsiteX5" fmla="*/ 0 w 14076052"/>
              <a:gd name="connsiteY5" fmla="*/ 4660309 h 4660309"/>
              <a:gd name="connsiteX6" fmla="*/ 0 w 14076052"/>
              <a:gd name="connsiteY6" fmla="*/ 3939580 h 4660309"/>
              <a:gd name="connsiteX7" fmla="*/ 0 w 14076052"/>
              <a:gd name="connsiteY7" fmla="*/ 3939579 h 4660309"/>
              <a:gd name="connsiteX8" fmla="*/ 10946 w 14076052"/>
              <a:gd name="connsiteY8" fmla="*/ 0 h 4660309"/>
              <a:gd name="connsiteX0" fmla="*/ 10946 w 7377817"/>
              <a:gd name="connsiteY0" fmla="*/ 0 h 4660309"/>
              <a:gd name="connsiteX1" fmla="*/ 7377363 w 7377817"/>
              <a:gd name="connsiteY1" fmla="*/ 940 h 4660309"/>
              <a:gd name="connsiteX2" fmla="*/ 7372199 w 7377817"/>
              <a:gd name="connsiteY2" fmla="*/ 3917840 h 4660309"/>
              <a:gd name="connsiteX3" fmla="*/ 342000 w 7377817"/>
              <a:gd name="connsiteY3" fmla="*/ 3939580 h 4660309"/>
              <a:gd name="connsiteX4" fmla="*/ 16115 w 7377817"/>
              <a:gd name="connsiteY4" fmla="*/ 4660309 h 4660309"/>
              <a:gd name="connsiteX5" fmla="*/ 0 w 7377817"/>
              <a:gd name="connsiteY5" fmla="*/ 4660309 h 4660309"/>
              <a:gd name="connsiteX6" fmla="*/ 0 w 7377817"/>
              <a:gd name="connsiteY6" fmla="*/ 3939580 h 4660309"/>
              <a:gd name="connsiteX7" fmla="*/ 0 w 7377817"/>
              <a:gd name="connsiteY7" fmla="*/ 3939579 h 4660309"/>
              <a:gd name="connsiteX8" fmla="*/ 10946 w 7377817"/>
              <a:gd name="connsiteY8" fmla="*/ 0 h 4660309"/>
              <a:gd name="connsiteX0" fmla="*/ 10946 w 7372199"/>
              <a:gd name="connsiteY0" fmla="*/ 0 h 4660309"/>
              <a:gd name="connsiteX1" fmla="*/ 4794209 w 7372199"/>
              <a:gd name="connsiteY1" fmla="*/ 940 h 4660309"/>
              <a:gd name="connsiteX2" fmla="*/ 7372199 w 7372199"/>
              <a:gd name="connsiteY2" fmla="*/ 3917840 h 4660309"/>
              <a:gd name="connsiteX3" fmla="*/ 342000 w 7372199"/>
              <a:gd name="connsiteY3" fmla="*/ 3939580 h 4660309"/>
              <a:gd name="connsiteX4" fmla="*/ 16115 w 7372199"/>
              <a:gd name="connsiteY4" fmla="*/ 4660309 h 4660309"/>
              <a:gd name="connsiteX5" fmla="*/ 0 w 7372199"/>
              <a:gd name="connsiteY5" fmla="*/ 4660309 h 4660309"/>
              <a:gd name="connsiteX6" fmla="*/ 0 w 7372199"/>
              <a:gd name="connsiteY6" fmla="*/ 3939580 h 4660309"/>
              <a:gd name="connsiteX7" fmla="*/ 0 w 7372199"/>
              <a:gd name="connsiteY7" fmla="*/ 3939579 h 4660309"/>
              <a:gd name="connsiteX8" fmla="*/ 10946 w 7372199"/>
              <a:gd name="connsiteY8" fmla="*/ 0 h 4660309"/>
              <a:gd name="connsiteX0" fmla="*/ 10946 w 4810936"/>
              <a:gd name="connsiteY0" fmla="*/ 0 h 4660309"/>
              <a:gd name="connsiteX1" fmla="*/ 4794209 w 4810936"/>
              <a:gd name="connsiteY1" fmla="*/ 940 h 4660309"/>
              <a:gd name="connsiteX2" fmla="*/ 4810936 w 4810936"/>
              <a:gd name="connsiteY2" fmla="*/ 3917840 h 4660309"/>
              <a:gd name="connsiteX3" fmla="*/ 342000 w 4810936"/>
              <a:gd name="connsiteY3" fmla="*/ 3939580 h 4660309"/>
              <a:gd name="connsiteX4" fmla="*/ 16115 w 4810936"/>
              <a:gd name="connsiteY4" fmla="*/ 4660309 h 4660309"/>
              <a:gd name="connsiteX5" fmla="*/ 0 w 4810936"/>
              <a:gd name="connsiteY5" fmla="*/ 4660309 h 4660309"/>
              <a:gd name="connsiteX6" fmla="*/ 0 w 4810936"/>
              <a:gd name="connsiteY6" fmla="*/ 3939580 h 4660309"/>
              <a:gd name="connsiteX7" fmla="*/ 0 w 4810936"/>
              <a:gd name="connsiteY7" fmla="*/ 3939579 h 4660309"/>
              <a:gd name="connsiteX8" fmla="*/ 10946 w 4810936"/>
              <a:gd name="connsiteY8" fmla="*/ 0 h 4660309"/>
              <a:gd name="connsiteX0" fmla="*/ 10946 w 4794215"/>
              <a:gd name="connsiteY0" fmla="*/ 0 h 4660309"/>
              <a:gd name="connsiteX1" fmla="*/ 4794209 w 4794215"/>
              <a:gd name="connsiteY1" fmla="*/ 940 h 4660309"/>
              <a:gd name="connsiteX2" fmla="*/ 3942469 w 4794215"/>
              <a:gd name="connsiteY2" fmla="*/ 3937729 h 4660309"/>
              <a:gd name="connsiteX3" fmla="*/ 342000 w 4794215"/>
              <a:gd name="connsiteY3" fmla="*/ 3939580 h 4660309"/>
              <a:gd name="connsiteX4" fmla="*/ 16115 w 4794215"/>
              <a:gd name="connsiteY4" fmla="*/ 4660309 h 4660309"/>
              <a:gd name="connsiteX5" fmla="*/ 0 w 4794215"/>
              <a:gd name="connsiteY5" fmla="*/ 4660309 h 4660309"/>
              <a:gd name="connsiteX6" fmla="*/ 0 w 4794215"/>
              <a:gd name="connsiteY6" fmla="*/ 3939580 h 4660309"/>
              <a:gd name="connsiteX7" fmla="*/ 0 w 4794215"/>
              <a:gd name="connsiteY7" fmla="*/ 3939579 h 4660309"/>
              <a:gd name="connsiteX8" fmla="*/ 10946 w 4794215"/>
              <a:gd name="connsiteY8" fmla="*/ 0 h 4660309"/>
              <a:gd name="connsiteX0" fmla="*/ 10946 w 3955965"/>
              <a:gd name="connsiteY0" fmla="*/ 0 h 4660309"/>
              <a:gd name="connsiteX1" fmla="*/ 3955691 w 3955965"/>
              <a:gd name="connsiteY1" fmla="*/ 940 h 4660309"/>
              <a:gd name="connsiteX2" fmla="*/ 3942469 w 3955965"/>
              <a:gd name="connsiteY2" fmla="*/ 3937729 h 4660309"/>
              <a:gd name="connsiteX3" fmla="*/ 342000 w 3955965"/>
              <a:gd name="connsiteY3" fmla="*/ 3939580 h 4660309"/>
              <a:gd name="connsiteX4" fmla="*/ 16115 w 3955965"/>
              <a:gd name="connsiteY4" fmla="*/ 4660309 h 4660309"/>
              <a:gd name="connsiteX5" fmla="*/ 0 w 3955965"/>
              <a:gd name="connsiteY5" fmla="*/ 4660309 h 4660309"/>
              <a:gd name="connsiteX6" fmla="*/ 0 w 3955965"/>
              <a:gd name="connsiteY6" fmla="*/ 3939580 h 4660309"/>
              <a:gd name="connsiteX7" fmla="*/ 0 w 3955965"/>
              <a:gd name="connsiteY7" fmla="*/ 3939579 h 4660309"/>
              <a:gd name="connsiteX8" fmla="*/ 10946 w 3955965"/>
              <a:gd name="connsiteY8" fmla="*/ 0 h 4660309"/>
              <a:gd name="connsiteX0" fmla="*/ 10946 w 4918981"/>
              <a:gd name="connsiteY0" fmla="*/ 0 h 4660309"/>
              <a:gd name="connsiteX1" fmla="*/ 3955691 w 4918981"/>
              <a:gd name="connsiteY1" fmla="*/ 940 h 4660309"/>
              <a:gd name="connsiteX2" fmla="*/ 4918981 w 4918981"/>
              <a:gd name="connsiteY2" fmla="*/ 3937729 h 4660309"/>
              <a:gd name="connsiteX3" fmla="*/ 342000 w 4918981"/>
              <a:gd name="connsiteY3" fmla="*/ 3939580 h 4660309"/>
              <a:gd name="connsiteX4" fmla="*/ 16115 w 4918981"/>
              <a:gd name="connsiteY4" fmla="*/ 4660309 h 4660309"/>
              <a:gd name="connsiteX5" fmla="*/ 0 w 4918981"/>
              <a:gd name="connsiteY5" fmla="*/ 4660309 h 4660309"/>
              <a:gd name="connsiteX6" fmla="*/ 0 w 4918981"/>
              <a:gd name="connsiteY6" fmla="*/ 3939580 h 4660309"/>
              <a:gd name="connsiteX7" fmla="*/ 0 w 4918981"/>
              <a:gd name="connsiteY7" fmla="*/ 3939579 h 4660309"/>
              <a:gd name="connsiteX8" fmla="*/ 10946 w 4918981"/>
              <a:gd name="connsiteY8" fmla="*/ 0 h 4660309"/>
              <a:gd name="connsiteX0" fmla="*/ 10946 w 4918981"/>
              <a:gd name="connsiteY0" fmla="*/ 0 h 4660309"/>
              <a:gd name="connsiteX1" fmla="*/ 4898237 w 4918981"/>
              <a:gd name="connsiteY1" fmla="*/ 940 h 4660309"/>
              <a:gd name="connsiteX2" fmla="*/ 4918981 w 4918981"/>
              <a:gd name="connsiteY2" fmla="*/ 3937729 h 4660309"/>
              <a:gd name="connsiteX3" fmla="*/ 342000 w 4918981"/>
              <a:gd name="connsiteY3" fmla="*/ 3939580 h 4660309"/>
              <a:gd name="connsiteX4" fmla="*/ 16115 w 4918981"/>
              <a:gd name="connsiteY4" fmla="*/ 4660309 h 4660309"/>
              <a:gd name="connsiteX5" fmla="*/ 0 w 4918981"/>
              <a:gd name="connsiteY5" fmla="*/ 4660309 h 4660309"/>
              <a:gd name="connsiteX6" fmla="*/ 0 w 4918981"/>
              <a:gd name="connsiteY6" fmla="*/ 3939580 h 4660309"/>
              <a:gd name="connsiteX7" fmla="*/ 0 w 4918981"/>
              <a:gd name="connsiteY7" fmla="*/ 3939579 h 4660309"/>
              <a:gd name="connsiteX8" fmla="*/ 10946 w 4918981"/>
              <a:gd name="connsiteY8" fmla="*/ 0 h 4660309"/>
              <a:gd name="connsiteX0" fmla="*/ 10946 w 5470923"/>
              <a:gd name="connsiteY0" fmla="*/ 0 h 4660309"/>
              <a:gd name="connsiteX1" fmla="*/ 4898237 w 5470923"/>
              <a:gd name="connsiteY1" fmla="*/ 940 h 4660309"/>
              <a:gd name="connsiteX2" fmla="*/ 5470923 w 5470923"/>
              <a:gd name="connsiteY2" fmla="*/ 3929270 h 4660309"/>
              <a:gd name="connsiteX3" fmla="*/ 342000 w 5470923"/>
              <a:gd name="connsiteY3" fmla="*/ 3939580 h 4660309"/>
              <a:gd name="connsiteX4" fmla="*/ 16115 w 5470923"/>
              <a:gd name="connsiteY4" fmla="*/ 4660309 h 4660309"/>
              <a:gd name="connsiteX5" fmla="*/ 0 w 5470923"/>
              <a:gd name="connsiteY5" fmla="*/ 4660309 h 4660309"/>
              <a:gd name="connsiteX6" fmla="*/ 0 w 5470923"/>
              <a:gd name="connsiteY6" fmla="*/ 3939580 h 4660309"/>
              <a:gd name="connsiteX7" fmla="*/ 0 w 5470923"/>
              <a:gd name="connsiteY7" fmla="*/ 3939579 h 4660309"/>
              <a:gd name="connsiteX8" fmla="*/ 10946 w 5470923"/>
              <a:gd name="connsiteY8" fmla="*/ 0 h 4660309"/>
              <a:gd name="connsiteX0" fmla="*/ 10946 w 5470923"/>
              <a:gd name="connsiteY0" fmla="*/ 7518 h 4667827"/>
              <a:gd name="connsiteX1" fmla="*/ 5450179 w 5470923"/>
              <a:gd name="connsiteY1" fmla="*/ 0 h 4667827"/>
              <a:gd name="connsiteX2" fmla="*/ 5470923 w 5470923"/>
              <a:gd name="connsiteY2" fmla="*/ 3936788 h 4667827"/>
              <a:gd name="connsiteX3" fmla="*/ 342000 w 5470923"/>
              <a:gd name="connsiteY3" fmla="*/ 3947098 h 4667827"/>
              <a:gd name="connsiteX4" fmla="*/ 16115 w 5470923"/>
              <a:gd name="connsiteY4" fmla="*/ 4667827 h 4667827"/>
              <a:gd name="connsiteX5" fmla="*/ 0 w 5470923"/>
              <a:gd name="connsiteY5" fmla="*/ 4667827 h 4667827"/>
              <a:gd name="connsiteX6" fmla="*/ 0 w 5470923"/>
              <a:gd name="connsiteY6" fmla="*/ 3947098 h 4667827"/>
              <a:gd name="connsiteX7" fmla="*/ 0 w 5470923"/>
              <a:gd name="connsiteY7" fmla="*/ 3947097 h 4667827"/>
              <a:gd name="connsiteX8" fmla="*/ 10946 w 5470923"/>
              <a:gd name="connsiteY8" fmla="*/ 7518 h 4667827"/>
              <a:gd name="connsiteX0" fmla="*/ 10946 w 5450650"/>
              <a:gd name="connsiteY0" fmla="*/ 7518 h 4667827"/>
              <a:gd name="connsiteX1" fmla="*/ 5450179 w 5450650"/>
              <a:gd name="connsiteY1" fmla="*/ 0 h 4667827"/>
              <a:gd name="connsiteX2" fmla="*/ 5445449 w 5450650"/>
              <a:gd name="connsiteY2" fmla="*/ 3936789 h 4667827"/>
              <a:gd name="connsiteX3" fmla="*/ 342000 w 5450650"/>
              <a:gd name="connsiteY3" fmla="*/ 3947098 h 4667827"/>
              <a:gd name="connsiteX4" fmla="*/ 16115 w 5450650"/>
              <a:gd name="connsiteY4" fmla="*/ 4667827 h 4667827"/>
              <a:gd name="connsiteX5" fmla="*/ 0 w 5450650"/>
              <a:gd name="connsiteY5" fmla="*/ 4667827 h 4667827"/>
              <a:gd name="connsiteX6" fmla="*/ 0 w 5450650"/>
              <a:gd name="connsiteY6" fmla="*/ 3947098 h 4667827"/>
              <a:gd name="connsiteX7" fmla="*/ 0 w 5450650"/>
              <a:gd name="connsiteY7" fmla="*/ 3947097 h 4667827"/>
              <a:gd name="connsiteX8" fmla="*/ 10946 w 5450650"/>
              <a:gd name="connsiteY8" fmla="*/ 7518 h 4667827"/>
              <a:gd name="connsiteX0" fmla="*/ 10946 w 6265360"/>
              <a:gd name="connsiteY0" fmla="*/ 15977 h 4676286"/>
              <a:gd name="connsiteX1" fmla="*/ 6265354 w 6265360"/>
              <a:gd name="connsiteY1" fmla="*/ 0 h 4676286"/>
              <a:gd name="connsiteX2" fmla="*/ 5445449 w 6265360"/>
              <a:gd name="connsiteY2" fmla="*/ 3945248 h 4676286"/>
              <a:gd name="connsiteX3" fmla="*/ 342000 w 6265360"/>
              <a:gd name="connsiteY3" fmla="*/ 3955557 h 4676286"/>
              <a:gd name="connsiteX4" fmla="*/ 16115 w 6265360"/>
              <a:gd name="connsiteY4" fmla="*/ 4676286 h 4676286"/>
              <a:gd name="connsiteX5" fmla="*/ 0 w 6265360"/>
              <a:gd name="connsiteY5" fmla="*/ 4676286 h 4676286"/>
              <a:gd name="connsiteX6" fmla="*/ 0 w 6265360"/>
              <a:gd name="connsiteY6" fmla="*/ 3955557 h 4676286"/>
              <a:gd name="connsiteX7" fmla="*/ 0 w 6265360"/>
              <a:gd name="connsiteY7" fmla="*/ 3955556 h 4676286"/>
              <a:gd name="connsiteX8" fmla="*/ 10946 w 6265360"/>
              <a:gd name="connsiteY8" fmla="*/ 15977 h 4676286"/>
              <a:gd name="connsiteX0" fmla="*/ 10946 w 6277606"/>
              <a:gd name="connsiteY0" fmla="*/ 15977 h 4676286"/>
              <a:gd name="connsiteX1" fmla="*/ 6265354 w 6277606"/>
              <a:gd name="connsiteY1" fmla="*/ 0 h 4676286"/>
              <a:gd name="connsiteX2" fmla="*/ 6277606 w 6277606"/>
              <a:gd name="connsiteY2" fmla="*/ 3928330 h 4676286"/>
              <a:gd name="connsiteX3" fmla="*/ 342000 w 6277606"/>
              <a:gd name="connsiteY3" fmla="*/ 3955557 h 4676286"/>
              <a:gd name="connsiteX4" fmla="*/ 16115 w 6277606"/>
              <a:gd name="connsiteY4" fmla="*/ 4676286 h 4676286"/>
              <a:gd name="connsiteX5" fmla="*/ 0 w 6277606"/>
              <a:gd name="connsiteY5" fmla="*/ 4676286 h 4676286"/>
              <a:gd name="connsiteX6" fmla="*/ 0 w 6277606"/>
              <a:gd name="connsiteY6" fmla="*/ 3955557 h 4676286"/>
              <a:gd name="connsiteX7" fmla="*/ 0 w 6277606"/>
              <a:gd name="connsiteY7" fmla="*/ 3955556 h 4676286"/>
              <a:gd name="connsiteX8" fmla="*/ 10946 w 6277606"/>
              <a:gd name="connsiteY8" fmla="*/ 15977 h 4676286"/>
              <a:gd name="connsiteX0" fmla="*/ 10946 w 6277606"/>
              <a:gd name="connsiteY0" fmla="*/ 15977 h 4676286"/>
              <a:gd name="connsiteX1" fmla="*/ 6265354 w 6277606"/>
              <a:gd name="connsiteY1" fmla="*/ 0 h 4676286"/>
              <a:gd name="connsiteX2" fmla="*/ 6277606 w 6277606"/>
              <a:gd name="connsiteY2" fmla="*/ 3953707 h 4676286"/>
              <a:gd name="connsiteX3" fmla="*/ 342000 w 6277606"/>
              <a:gd name="connsiteY3" fmla="*/ 3955557 h 4676286"/>
              <a:gd name="connsiteX4" fmla="*/ 16115 w 6277606"/>
              <a:gd name="connsiteY4" fmla="*/ 4676286 h 4676286"/>
              <a:gd name="connsiteX5" fmla="*/ 0 w 6277606"/>
              <a:gd name="connsiteY5" fmla="*/ 4676286 h 4676286"/>
              <a:gd name="connsiteX6" fmla="*/ 0 w 6277606"/>
              <a:gd name="connsiteY6" fmla="*/ 3955557 h 4676286"/>
              <a:gd name="connsiteX7" fmla="*/ 0 w 6277606"/>
              <a:gd name="connsiteY7" fmla="*/ 3955556 h 4676286"/>
              <a:gd name="connsiteX8" fmla="*/ 10946 w 6277606"/>
              <a:gd name="connsiteY8" fmla="*/ 15977 h 4676286"/>
              <a:gd name="connsiteX0" fmla="*/ 10946 w 6277606"/>
              <a:gd name="connsiteY0" fmla="*/ 7519 h 4667828"/>
              <a:gd name="connsiteX1" fmla="*/ 6273845 w 6277606"/>
              <a:gd name="connsiteY1" fmla="*/ 0 h 4667828"/>
              <a:gd name="connsiteX2" fmla="*/ 6277606 w 6277606"/>
              <a:gd name="connsiteY2" fmla="*/ 3945249 h 4667828"/>
              <a:gd name="connsiteX3" fmla="*/ 342000 w 6277606"/>
              <a:gd name="connsiteY3" fmla="*/ 3947099 h 4667828"/>
              <a:gd name="connsiteX4" fmla="*/ 16115 w 6277606"/>
              <a:gd name="connsiteY4" fmla="*/ 4667828 h 4667828"/>
              <a:gd name="connsiteX5" fmla="*/ 0 w 6277606"/>
              <a:gd name="connsiteY5" fmla="*/ 4667828 h 4667828"/>
              <a:gd name="connsiteX6" fmla="*/ 0 w 6277606"/>
              <a:gd name="connsiteY6" fmla="*/ 3947099 h 4667828"/>
              <a:gd name="connsiteX7" fmla="*/ 0 w 6277606"/>
              <a:gd name="connsiteY7" fmla="*/ 3947098 h 4667828"/>
              <a:gd name="connsiteX8" fmla="*/ 10946 w 6277606"/>
              <a:gd name="connsiteY8" fmla="*/ 7519 h 4667828"/>
              <a:gd name="connsiteX0" fmla="*/ 10946 w 6882630"/>
              <a:gd name="connsiteY0" fmla="*/ 7519 h 4667828"/>
              <a:gd name="connsiteX1" fmla="*/ 6882621 w 6882630"/>
              <a:gd name="connsiteY1" fmla="*/ 0 h 4667828"/>
              <a:gd name="connsiteX2" fmla="*/ 6277606 w 6882630"/>
              <a:gd name="connsiteY2" fmla="*/ 3945249 h 4667828"/>
              <a:gd name="connsiteX3" fmla="*/ 342000 w 6882630"/>
              <a:gd name="connsiteY3" fmla="*/ 3947099 h 4667828"/>
              <a:gd name="connsiteX4" fmla="*/ 16115 w 6882630"/>
              <a:gd name="connsiteY4" fmla="*/ 4667828 h 4667828"/>
              <a:gd name="connsiteX5" fmla="*/ 0 w 6882630"/>
              <a:gd name="connsiteY5" fmla="*/ 4667828 h 4667828"/>
              <a:gd name="connsiteX6" fmla="*/ 0 w 6882630"/>
              <a:gd name="connsiteY6" fmla="*/ 3947099 h 4667828"/>
              <a:gd name="connsiteX7" fmla="*/ 0 w 6882630"/>
              <a:gd name="connsiteY7" fmla="*/ 3947098 h 4667828"/>
              <a:gd name="connsiteX8" fmla="*/ 10946 w 6882630"/>
              <a:gd name="connsiteY8" fmla="*/ 7519 h 4667828"/>
              <a:gd name="connsiteX0" fmla="*/ 10946 w 6882903"/>
              <a:gd name="connsiteY0" fmla="*/ 7519 h 4667828"/>
              <a:gd name="connsiteX1" fmla="*/ 6882621 w 6882903"/>
              <a:gd name="connsiteY1" fmla="*/ 0 h 4667828"/>
              <a:gd name="connsiteX2" fmla="*/ 6869929 w 6882903"/>
              <a:gd name="connsiteY2" fmla="*/ 3937054 h 4667828"/>
              <a:gd name="connsiteX3" fmla="*/ 342000 w 6882903"/>
              <a:gd name="connsiteY3" fmla="*/ 3947099 h 4667828"/>
              <a:gd name="connsiteX4" fmla="*/ 16115 w 6882903"/>
              <a:gd name="connsiteY4" fmla="*/ 4667828 h 4667828"/>
              <a:gd name="connsiteX5" fmla="*/ 0 w 6882903"/>
              <a:gd name="connsiteY5" fmla="*/ 4667828 h 4667828"/>
              <a:gd name="connsiteX6" fmla="*/ 0 w 6882903"/>
              <a:gd name="connsiteY6" fmla="*/ 3947099 h 4667828"/>
              <a:gd name="connsiteX7" fmla="*/ 0 w 6882903"/>
              <a:gd name="connsiteY7" fmla="*/ 3947098 h 4667828"/>
              <a:gd name="connsiteX8" fmla="*/ 10946 w 6882903"/>
              <a:gd name="connsiteY8" fmla="*/ 7519 h 4667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882903" h="4667828">
                <a:moveTo>
                  <a:pt x="10946" y="7519"/>
                </a:moveTo>
                <a:lnTo>
                  <a:pt x="6882621" y="0"/>
                </a:lnTo>
                <a:cubicBezTo>
                  <a:pt x="6885360" y="1796957"/>
                  <a:pt x="6867190" y="2140097"/>
                  <a:pt x="6869929" y="3937054"/>
                </a:cubicBezTo>
                <a:lnTo>
                  <a:pt x="342000" y="3947099"/>
                </a:lnTo>
                <a:lnTo>
                  <a:pt x="16115" y="4667828"/>
                </a:lnTo>
                <a:lnTo>
                  <a:pt x="0" y="4667828"/>
                </a:lnTo>
                <a:lnTo>
                  <a:pt x="0" y="3947099"/>
                </a:lnTo>
                <a:lnTo>
                  <a:pt x="0" y="3947098"/>
                </a:lnTo>
                <a:cubicBezTo>
                  <a:pt x="3649" y="2633905"/>
                  <a:pt x="7297" y="1320712"/>
                  <a:pt x="10946" y="7519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noProof="0"/>
          </a:p>
        </p:txBody>
      </p:sp>
      <p:sp>
        <p:nvSpPr>
          <p:cNvPr id="13" name="Untertitel 2"/>
          <p:cNvSpPr>
            <a:spLocks noGrp="1"/>
          </p:cNvSpPr>
          <p:nvPr>
            <p:ph type="subTitle" idx="1"/>
          </p:nvPr>
        </p:nvSpPr>
        <p:spPr>
          <a:xfrm>
            <a:off x="983432" y="4005064"/>
            <a:ext cx="6984776" cy="621178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"/>
              <a:t>Formatvorlage des Untertitelmasters durch Klicken bearbeiten</a:t>
            </a:r>
          </a:p>
        </p:txBody>
      </p:sp>
      <p:sp>
        <p:nvSpPr>
          <p:cNvPr id="14" name="Titel 11"/>
          <p:cNvSpPr>
            <a:spLocks noGrp="1"/>
          </p:cNvSpPr>
          <p:nvPr>
            <p:ph type="title" hasCustomPrompt="1"/>
          </p:nvPr>
        </p:nvSpPr>
        <p:spPr>
          <a:xfrm>
            <a:off x="914049" y="899255"/>
            <a:ext cx="6334475" cy="1350434"/>
          </a:xfrm>
        </p:spPr>
        <p:txBody>
          <a:bodyPr anchor="t">
            <a:normAutofit/>
          </a:bodyPr>
          <a:lstStyle>
            <a:lvl1pPr algn="l"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"/>
              <a:t>Titelmasterformat </a:t>
            </a:r>
            <a:br>
              <a:rPr lang="de-DE"/>
            </a:br>
            <a:r>
              <a:rPr lang="de"/>
              <a:t>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593196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44786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>
          <a:xfrm>
            <a:off x="334963" y="332655"/>
            <a:ext cx="11522075" cy="561729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76000">
                <a:schemeClr val="accent5"/>
              </a:gs>
            </a:gsLst>
            <a:lin ang="81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/>
          </a:p>
        </p:txBody>
      </p:sp>
      <p:pic>
        <p:nvPicPr>
          <p:cNvPr id="10" name="Grafik 9" descr="PPT_Logo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 bwMode="gray">
          <a:xfrm>
            <a:off x="10025785" y="6307504"/>
            <a:ext cx="1869952" cy="269749"/>
          </a:xfrm>
          <a:prstGeom prst="rect">
            <a:avLst/>
          </a:prstGeom>
        </p:spPr>
      </p:pic>
      <p:sp>
        <p:nvSpPr>
          <p:cNvPr id="11" name="Rechteck 3"/>
          <p:cNvSpPr/>
          <p:nvPr userDrawn="1"/>
        </p:nvSpPr>
        <p:spPr bwMode="gray">
          <a:xfrm>
            <a:off x="623393" y="612505"/>
            <a:ext cx="7500356" cy="5106123"/>
          </a:xfrm>
          <a:custGeom>
            <a:avLst/>
            <a:gdLst>
              <a:gd name="connsiteX0" fmla="*/ 0 w 11378159"/>
              <a:gd name="connsiteY0" fmla="*/ 0 h 6121399"/>
              <a:gd name="connsiteX1" fmla="*/ 11378159 w 11378159"/>
              <a:gd name="connsiteY1" fmla="*/ 942 h 6121399"/>
              <a:gd name="connsiteX2" fmla="*/ 8426450 w 11378159"/>
              <a:gd name="connsiteY2" fmla="*/ 5400670 h 6121399"/>
              <a:gd name="connsiteX3" fmla="*/ 342000 w 11378159"/>
              <a:gd name="connsiteY3" fmla="*/ 5400670 h 6121399"/>
              <a:gd name="connsiteX4" fmla="*/ 16115 w 11378159"/>
              <a:gd name="connsiteY4" fmla="*/ 6121399 h 6121399"/>
              <a:gd name="connsiteX5" fmla="*/ 0 w 11378159"/>
              <a:gd name="connsiteY5" fmla="*/ 6121399 h 6121399"/>
              <a:gd name="connsiteX6" fmla="*/ 0 w 11378159"/>
              <a:gd name="connsiteY6" fmla="*/ 5400670 h 6121399"/>
              <a:gd name="connsiteX7" fmla="*/ 0 w 11378159"/>
              <a:gd name="connsiteY7" fmla="*/ 5400669 h 6121399"/>
              <a:gd name="connsiteX8" fmla="*/ 0 w 11378159"/>
              <a:gd name="connsiteY8" fmla="*/ 0 h 6121399"/>
              <a:gd name="connsiteX0" fmla="*/ 0 w 11405868"/>
              <a:gd name="connsiteY0" fmla="*/ 0 h 6121399"/>
              <a:gd name="connsiteX1" fmla="*/ 11378159 w 11405868"/>
              <a:gd name="connsiteY1" fmla="*/ 942 h 6121399"/>
              <a:gd name="connsiteX2" fmla="*/ 11405868 w 11405868"/>
              <a:gd name="connsiteY2" fmla="*/ 5385812 h 6121399"/>
              <a:gd name="connsiteX3" fmla="*/ 342000 w 11405868"/>
              <a:gd name="connsiteY3" fmla="*/ 5400670 h 6121399"/>
              <a:gd name="connsiteX4" fmla="*/ 16115 w 11405868"/>
              <a:gd name="connsiteY4" fmla="*/ 6121399 h 6121399"/>
              <a:gd name="connsiteX5" fmla="*/ 0 w 11405868"/>
              <a:gd name="connsiteY5" fmla="*/ 6121399 h 6121399"/>
              <a:gd name="connsiteX6" fmla="*/ 0 w 11405868"/>
              <a:gd name="connsiteY6" fmla="*/ 5400670 h 6121399"/>
              <a:gd name="connsiteX7" fmla="*/ 0 w 11405868"/>
              <a:gd name="connsiteY7" fmla="*/ 5400669 h 6121399"/>
              <a:gd name="connsiteX8" fmla="*/ 0 w 11405868"/>
              <a:gd name="connsiteY8" fmla="*/ 0 h 6121399"/>
              <a:gd name="connsiteX0" fmla="*/ 0 w 11435443"/>
              <a:gd name="connsiteY0" fmla="*/ 0 h 6121399"/>
              <a:gd name="connsiteX1" fmla="*/ 11378159 w 11435443"/>
              <a:gd name="connsiteY1" fmla="*/ 942 h 6121399"/>
              <a:gd name="connsiteX2" fmla="*/ 11435443 w 11435443"/>
              <a:gd name="connsiteY2" fmla="*/ 5391814 h 6121399"/>
              <a:gd name="connsiteX3" fmla="*/ 342000 w 11435443"/>
              <a:gd name="connsiteY3" fmla="*/ 5400670 h 6121399"/>
              <a:gd name="connsiteX4" fmla="*/ 16115 w 11435443"/>
              <a:gd name="connsiteY4" fmla="*/ 6121399 h 6121399"/>
              <a:gd name="connsiteX5" fmla="*/ 0 w 11435443"/>
              <a:gd name="connsiteY5" fmla="*/ 6121399 h 6121399"/>
              <a:gd name="connsiteX6" fmla="*/ 0 w 11435443"/>
              <a:gd name="connsiteY6" fmla="*/ 5400670 h 6121399"/>
              <a:gd name="connsiteX7" fmla="*/ 0 w 11435443"/>
              <a:gd name="connsiteY7" fmla="*/ 5400669 h 6121399"/>
              <a:gd name="connsiteX8" fmla="*/ 0 w 11435443"/>
              <a:gd name="connsiteY8" fmla="*/ 0 h 6121399"/>
              <a:gd name="connsiteX0" fmla="*/ 0 w 11435443"/>
              <a:gd name="connsiteY0" fmla="*/ 0 h 6121399"/>
              <a:gd name="connsiteX1" fmla="*/ 11427225 w 11435443"/>
              <a:gd name="connsiteY1" fmla="*/ 942 h 6121399"/>
              <a:gd name="connsiteX2" fmla="*/ 11435443 w 11435443"/>
              <a:gd name="connsiteY2" fmla="*/ 5391814 h 6121399"/>
              <a:gd name="connsiteX3" fmla="*/ 342000 w 11435443"/>
              <a:gd name="connsiteY3" fmla="*/ 5400670 h 6121399"/>
              <a:gd name="connsiteX4" fmla="*/ 16115 w 11435443"/>
              <a:gd name="connsiteY4" fmla="*/ 6121399 h 6121399"/>
              <a:gd name="connsiteX5" fmla="*/ 0 w 11435443"/>
              <a:gd name="connsiteY5" fmla="*/ 6121399 h 6121399"/>
              <a:gd name="connsiteX6" fmla="*/ 0 w 11435443"/>
              <a:gd name="connsiteY6" fmla="*/ 5400670 h 6121399"/>
              <a:gd name="connsiteX7" fmla="*/ 0 w 11435443"/>
              <a:gd name="connsiteY7" fmla="*/ 5400669 h 6121399"/>
              <a:gd name="connsiteX8" fmla="*/ 0 w 11435443"/>
              <a:gd name="connsiteY8" fmla="*/ 0 h 6121399"/>
              <a:gd name="connsiteX0" fmla="*/ 0 w 11429964"/>
              <a:gd name="connsiteY0" fmla="*/ 0 h 6121399"/>
              <a:gd name="connsiteX1" fmla="*/ 11427225 w 11429964"/>
              <a:gd name="connsiteY1" fmla="*/ 942 h 6121399"/>
              <a:gd name="connsiteX2" fmla="*/ 11422061 w 11429964"/>
              <a:gd name="connsiteY2" fmla="*/ 5400735 h 6121399"/>
              <a:gd name="connsiteX3" fmla="*/ 342000 w 11429964"/>
              <a:gd name="connsiteY3" fmla="*/ 5400670 h 6121399"/>
              <a:gd name="connsiteX4" fmla="*/ 16115 w 11429964"/>
              <a:gd name="connsiteY4" fmla="*/ 6121399 h 6121399"/>
              <a:gd name="connsiteX5" fmla="*/ 0 w 11429964"/>
              <a:gd name="connsiteY5" fmla="*/ 6121399 h 6121399"/>
              <a:gd name="connsiteX6" fmla="*/ 0 w 11429964"/>
              <a:gd name="connsiteY6" fmla="*/ 5400670 h 6121399"/>
              <a:gd name="connsiteX7" fmla="*/ 0 w 11429964"/>
              <a:gd name="connsiteY7" fmla="*/ 5400669 h 6121399"/>
              <a:gd name="connsiteX8" fmla="*/ 0 w 11429964"/>
              <a:gd name="connsiteY8" fmla="*/ 0 h 6121399"/>
              <a:gd name="connsiteX0" fmla="*/ 0 w 14087002"/>
              <a:gd name="connsiteY0" fmla="*/ 0 h 6121399"/>
              <a:gd name="connsiteX1" fmla="*/ 14087000 w 14087002"/>
              <a:gd name="connsiteY1" fmla="*/ 941 h 6121399"/>
              <a:gd name="connsiteX2" fmla="*/ 11422061 w 14087002"/>
              <a:gd name="connsiteY2" fmla="*/ 5400735 h 6121399"/>
              <a:gd name="connsiteX3" fmla="*/ 342000 w 14087002"/>
              <a:gd name="connsiteY3" fmla="*/ 5400670 h 6121399"/>
              <a:gd name="connsiteX4" fmla="*/ 16115 w 14087002"/>
              <a:gd name="connsiteY4" fmla="*/ 6121399 h 6121399"/>
              <a:gd name="connsiteX5" fmla="*/ 0 w 14087002"/>
              <a:gd name="connsiteY5" fmla="*/ 6121399 h 6121399"/>
              <a:gd name="connsiteX6" fmla="*/ 0 w 14087002"/>
              <a:gd name="connsiteY6" fmla="*/ 5400670 h 6121399"/>
              <a:gd name="connsiteX7" fmla="*/ 0 w 14087002"/>
              <a:gd name="connsiteY7" fmla="*/ 5400669 h 6121399"/>
              <a:gd name="connsiteX8" fmla="*/ 0 w 14087002"/>
              <a:gd name="connsiteY8" fmla="*/ 0 h 6121399"/>
              <a:gd name="connsiteX0" fmla="*/ 0 w 14087163"/>
              <a:gd name="connsiteY0" fmla="*/ 0 h 6121399"/>
              <a:gd name="connsiteX1" fmla="*/ 14087000 w 14087163"/>
              <a:gd name="connsiteY1" fmla="*/ 941 h 6121399"/>
              <a:gd name="connsiteX2" fmla="*/ 14059943 w 14087163"/>
              <a:gd name="connsiteY2" fmla="*/ 5400736 h 6121399"/>
              <a:gd name="connsiteX3" fmla="*/ 342000 w 14087163"/>
              <a:gd name="connsiteY3" fmla="*/ 5400670 h 6121399"/>
              <a:gd name="connsiteX4" fmla="*/ 16115 w 14087163"/>
              <a:gd name="connsiteY4" fmla="*/ 6121399 h 6121399"/>
              <a:gd name="connsiteX5" fmla="*/ 0 w 14087163"/>
              <a:gd name="connsiteY5" fmla="*/ 6121399 h 6121399"/>
              <a:gd name="connsiteX6" fmla="*/ 0 w 14087163"/>
              <a:gd name="connsiteY6" fmla="*/ 5400670 h 6121399"/>
              <a:gd name="connsiteX7" fmla="*/ 0 w 14087163"/>
              <a:gd name="connsiteY7" fmla="*/ 5400669 h 6121399"/>
              <a:gd name="connsiteX8" fmla="*/ 0 w 14087163"/>
              <a:gd name="connsiteY8" fmla="*/ 0 h 6121399"/>
              <a:gd name="connsiteX0" fmla="*/ 0 w 14087163"/>
              <a:gd name="connsiteY0" fmla="*/ 0 h 6121399"/>
              <a:gd name="connsiteX1" fmla="*/ 14087000 w 14087163"/>
              <a:gd name="connsiteY1" fmla="*/ 941 h 6121399"/>
              <a:gd name="connsiteX2" fmla="*/ 14059943 w 14087163"/>
              <a:gd name="connsiteY2" fmla="*/ 5368026 h 6121399"/>
              <a:gd name="connsiteX3" fmla="*/ 342000 w 14087163"/>
              <a:gd name="connsiteY3" fmla="*/ 5400670 h 6121399"/>
              <a:gd name="connsiteX4" fmla="*/ 16115 w 14087163"/>
              <a:gd name="connsiteY4" fmla="*/ 6121399 h 6121399"/>
              <a:gd name="connsiteX5" fmla="*/ 0 w 14087163"/>
              <a:gd name="connsiteY5" fmla="*/ 6121399 h 6121399"/>
              <a:gd name="connsiteX6" fmla="*/ 0 w 14087163"/>
              <a:gd name="connsiteY6" fmla="*/ 5400670 h 6121399"/>
              <a:gd name="connsiteX7" fmla="*/ 0 w 14087163"/>
              <a:gd name="connsiteY7" fmla="*/ 5400669 h 6121399"/>
              <a:gd name="connsiteX8" fmla="*/ 0 w 14087163"/>
              <a:gd name="connsiteY8" fmla="*/ 0 h 6121399"/>
              <a:gd name="connsiteX0" fmla="*/ 0 w 14087163"/>
              <a:gd name="connsiteY0" fmla="*/ 1536475 h 6120458"/>
              <a:gd name="connsiteX1" fmla="*/ 14087000 w 14087163"/>
              <a:gd name="connsiteY1" fmla="*/ 0 h 6120458"/>
              <a:gd name="connsiteX2" fmla="*/ 14059943 w 14087163"/>
              <a:gd name="connsiteY2" fmla="*/ 5367085 h 6120458"/>
              <a:gd name="connsiteX3" fmla="*/ 342000 w 14087163"/>
              <a:gd name="connsiteY3" fmla="*/ 5399729 h 6120458"/>
              <a:gd name="connsiteX4" fmla="*/ 16115 w 14087163"/>
              <a:gd name="connsiteY4" fmla="*/ 6120458 h 6120458"/>
              <a:gd name="connsiteX5" fmla="*/ 0 w 14087163"/>
              <a:gd name="connsiteY5" fmla="*/ 6120458 h 6120458"/>
              <a:gd name="connsiteX6" fmla="*/ 0 w 14087163"/>
              <a:gd name="connsiteY6" fmla="*/ 5399729 h 6120458"/>
              <a:gd name="connsiteX7" fmla="*/ 0 w 14087163"/>
              <a:gd name="connsiteY7" fmla="*/ 5399728 h 6120458"/>
              <a:gd name="connsiteX8" fmla="*/ 0 w 14087163"/>
              <a:gd name="connsiteY8" fmla="*/ 1536475 h 6120458"/>
              <a:gd name="connsiteX0" fmla="*/ 0 w 14076293"/>
              <a:gd name="connsiteY0" fmla="*/ 64482 h 4648465"/>
              <a:gd name="connsiteX1" fmla="*/ 14076053 w 14076293"/>
              <a:gd name="connsiteY1" fmla="*/ 0 h 4648465"/>
              <a:gd name="connsiteX2" fmla="*/ 14059943 w 14076293"/>
              <a:gd name="connsiteY2" fmla="*/ 3895092 h 4648465"/>
              <a:gd name="connsiteX3" fmla="*/ 342000 w 14076293"/>
              <a:gd name="connsiteY3" fmla="*/ 3927736 h 4648465"/>
              <a:gd name="connsiteX4" fmla="*/ 16115 w 14076293"/>
              <a:gd name="connsiteY4" fmla="*/ 4648465 h 4648465"/>
              <a:gd name="connsiteX5" fmla="*/ 0 w 14076293"/>
              <a:gd name="connsiteY5" fmla="*/ 4648465 h 4648465"/>
              <a:gd name="connsiteX6" fmla="*/ 0 w 14076293"/>
              <a:gd name="connsiteY6" fmla="*/ 3927736 h 4648465"/>
              <a:gd name="connsiteX7" fmla="*/ 0 w 14076293"/>
              <a:gd name="connsiteY7" fmla="*/ 3927735 h 4648465"/>
              <a:gd name="connsiteX8" fmla="*/ 0 w 14076293"/>
              <a:gd name="connsiteY8" fmla="*/ 64482 h 4648465"/>
              <a:gd name="connsiteX0" fmla="*/ 0 w 14076293"/>
              <a:gd name="connsiteY0" fmla="*/ 20867 h 4648465"/>
              <a:gd name="connsiteX1" fmla="*/ 14076053 w 14076293"/>
              <a:gd name="connsiteY1" fmla="*/ 0 h 4648465"/>
              <a:gd name="connsiteX2" fmla="*/ 14059943 w 14076293"/>
              <a:gd name="connsiteY2" fmla="*/ 3895092 h 4648465"/>
              <a:gd name="connsiteX3" fmla="*/ 342000 w 14076293"/>
              <a:gd name="connsiteY3" fmla="*/ 3927736 h 4648465"/>
              <a:gd name="connsiteX4" fmla="*/ 16115 w 14076293"/>
              <a:gd name="connsiteY4" fmla="*/ 4648465 h 4648465"/>
              <a:gd name="connsiteX5" fmla="*/ 0 w 14076293"/>
              <a:gd name="connsiteY5" fmla="*/ 4648465 h 4648465"/>
              <a:gd name="connsiteX6" fmla="*/ 0 w 14076293"/>
              <a:gd name="connsiteY6" fmla="*/ 3927736 h 4648465"/>
              <a:gd name="connsiteX7" fmla="*/ 0 w 14076293"/>
              <a:gd name="connsiteY7" fmla="*/ 3927735 h 4648465"/>
              <a:gd name="connsiteX8" fmla="*/ 0 w 14076293"/>
              <a:gd name="connsiteY8" fmla="*/ 20867 h 4648465"/>
              <a:gd name="connsiteX0" fmla="*/ 0 w 14076293"/>
              <a:gd name="connsiteY0" fmla="*/ 0 h 4660309"/>
              <a:gd name="connsiteX1" fmla="*/ 14076053 w 14076293"/>
              <a:gd name="connsiteY1" fmla="*/ 11844 h 4660309"/>
              <a:gd name="connsiteX2" fmla="*/ 14059943 w 14076293"/>
              <a:gd name="connsiteY2" fmla="*/ 3906936 h 4660309"/>
              <a:gd name="connsiteX3" fmla="*/ 342000 w 14076293"/>
              <a:gd name="connsiteY3" fmla="*/ 3939580 h 4660309"/>
              <a:gd name="connsiteX4" fmla="*/ 16115 w 14076293"/>
              <a:gd name="connsiteY4" fmla="*/ 4660309 h 4660309"/>
              <a:gd name="connsiteX5" fmla="*/ 0 w 14076293"/>
              <a:gd name="connsiteY5" fmla="*/ 4660309 h 4660309"/>
              <a:gd name="connsiteX6" fmla="*/ 0 w 14076293"/>
              <a:gd name="connsiteY6" fmla="*/ 3939580 h 4660309"/>
              <a:gd name="connsiteX7" fmla="*/ 0 w 14076293"/>
              <a:gd name="connsiteY7" fmla="*/ 3939579 h 4660309"/>
              <a:gd name="connsiteX8" fmla="*/ 0 w 14076293"/>
              <a:gd name="connsiteY8" fmla="*/ 0 h 4660309"/>
              <a:gd name="connsiteX0" fmla="*/ 0 w 14076293"/>
              <a:gd name="connsiteY0" fmla="*/ 20867 h 4648465"/>
              <a:gd name="connsiteX1" fmla="*/ 14076053 w 14076293"/>
              <a:gd name="connsiteY1" fmla="*/ 0 h 4648465"/>
              <a:gd name="connsiteX2" fmla="*/ 14059943 w 14076293"/>
              <a:gd name="connsiteY2" fmla="*/ 3895092 h 4648465"/>
              <a:gd name="connsiteX3" fmla="*/ 342000 w 14076293"/>
              <a:gd name="connsiteY3" fmla="*/ 3927736 h 4648465"/>
              <a:gd name="connsiteX4" fmla="*/ 16115 w 14076293"/>
              <a:gd name="connsiteY4" fmla="*/ 4648465 h 4648465"/>
              <a:gd name="connsiteX5" fmla="*/ 0 w 14076293"/>
              <a:gd name="connsiteY5" fmla="*/ 4648465 h 4648465"/>
              <a:gd name="connsiteX6" fmla="*/ 0 w 14076293"/>
              <a:gd name="connsiteY6" fmla="*/ 3927736 h 4648465"/>
              <a:gd name="connsiteX7" fmla="*/ 0 w 14076293"/>
              <a:gd name="connsiteY7" fmla="*/ 3927735 h 4648465"/>
              <a:gd name="connsiteX8" fmla="*/ 0 w 14076293"/>
              <a:gd name="connsiteY8" fmla="*/ 20867 h 4648465"/>
              <a:gd name="connsiteX0" fmla="*/ 0 w 14076293"/>
              <a:gd name="connsiteY0" fmla="*/ 0 h 4660309"/>
              <a:gd name="connsiteX1" fmla="*/ 14076053 w 14076293"/>
              <a:gd name="connsiteY1" fmla="*/ 11844 h 4660309"/>
              <a:gd name="connsiteX2" fmla="*/ 14059943 w 14076293"/>
              <a:gd name="connsiteY2" fmla="*/ 3906936 h 4660309"/>
              <a:gd name="connsiteX3" fmla="*/ 342000 w 14076293"/>
              <a:gd name="connsiteY3" fmla="*/ 3939580 h 4660309"/>
              <a:gd name="connsiteX4" fmla="*/ 16115 w 14076293"/>
              <a:gd name="connsiteY4" fmla="*/ 4660309 h 4660309"/>
              <a:gd name="connsiteX5" fmla="*/ 0 w 14076293"/>
              <a:gd name="connsiteY5" fmla="*/ 4660309 h 4660309"/>
              <a:gd name="connsiteX6" fmla="*/ 0 w 14076293"/>
              <a:gd name="connsiteY6" fmla="*/ 3939580 h 4660309"/>
              <a:gd name="connsiteX7" fmla="*/ 0 w 14076293"/>
              <a:gd name="connsiteY7" fmla="*/ 3939579 h 4660309"/>
              <a:gd name="connsiteX8" fmla="*/ 0 w 14076293"/>
              <a:gd name="connsiteY8" fmla="*/ 0 h 4660309"/>
              <a:gd name="connsiteX0" fmla="*/ 0 w 14076293"/>
              <a:gd name="connsiteY0" fmla="*/ 9963 h 4648465"/>
              <a:gd name="connsiteX1" fmla="*/ 14076053 w 14076293"/>
              <a:gd name="connsiteY1" fmla="*/ 0 h 4648465"/>
              <a:gd name="connsiteX2" fmla="*/ 14059943 w 14076293"/>
              <a:gd name="connsiteY2" fmla="*/ 3895092 h 4648465"/>
              <a:gd name="connsiteX3" fmla="*/ 342000 w 14076293"/>
              <a:gd name="connsiteY3" fmla="*/ 3927736 h 4648465"/>
              <a:gd name="connsiteX4" fmla="*/ 16115 w 14076293"/>
              <a:gd name="connsiteY4" fmla="*/ 4648465 h 4648465"/>
              <a:gd name="connsiteX5" fmla="*/ 0 w 14076293"/>
              <a:gd name="connsiteY5" fmla="*/ 4648465 h 4648465"/>
              <a:gd name="connsiteX6" fmla="*/ 0 w 14076293"/>
              <a:gd name="connsiteY6" fmla="*/ 3927736 h 4648465"/>
              <a:gd name="connsiteX7" fmla="*/ 0 w 14076293"/>
              <a:gd name="connsiteY7" fmla="*/ 3927735 h 4648465"/>
              <a:gd name="connsiteX8" fmla="*/ 0 w 14076293"/>
              <a:gd name="connsiteY8" fmla="*/ 9963 h 4648465"/>
              <a:gd name="connsiteX0" fmla="*/ 10946 w 14076293"/>
              <a:gd name="connsiteY0" fmla="*/ 0 h 4660309"/>
              <a:gd name="connsiteX1" fmla="*/ 14076053 w 14076293"/>
              <a:gd name="connsiteY1" fmla="*/ 11844 h 4660309"/>
              <a:gd name="connsiteX2" fmla="*/ 14059943 w 14076293"/>
              <a:gd name="connsiteY2" fmla="*/ 3906936 h 4660309"/>
              <a:gd name="connsiteX3" fmla="*/ 342000 w 14076293"/>
              <a:gd name="connsiteY3" fmla="*/ 3939580 h 4660309"/>
              <a:gd name="connsiteX4" fmla="*/ 16115 w 14076293"/>
              <a:gd name="connsiteY4" fmla="*/ 4660309 h 4660309"/>
              <a:gd name="connsiteX5" fmla="*/ 0 w 14076293"/>
              <a:gd name="connsiteY5" fmla="*/ 4660309 h 4660309"/>
              <a:gd name="connsiteX6" fmla="*/ 0 w 14076293"/>
              <a:gd name="connsiteY6" fmla="*/ 3939580 h 4660309"/>
              <a:gd name="connsiteX7" fmla="*/ 0 w 14076293"/>
              <a:gd name="connsiteY7" fmla="*/ 3939579 h 4660309"/>
              <a:gd name="connsiteX8" fmla="*/ 10946 w 14076293"/>
              <a:gd name="connsiteY8" fmla="*/ 0 h 4660309"/>
              <a:gd name="connsiteX0" fmla="*/ 10946 w 14076052"/>
              <a:gd name="connsiteY0" fmla="*/ 0 h 4660309"/>
              <a:gd name="connsiteX1" fmla="*/ 14076053 w 14076052"/>
              <a:gd name="connsiteY1" fmla="*/ 11844 h 4660309"/>
              <a:gd name="connsiteX2" fmla="*/ 7372199 w 14076052"/>
              <a:gd name="connsiteY2" fmla="*/ 3917840 h 4660309"/>
              <a:gd name="connsiteX3" fmla="*/ 342000 w 14076052"/>
              <a:gd name="connsiteY3" fmla="*/ 3939580 h 4660309"/>
              <a:gd name="connsiteX4" fmla="*/ 16115 w 14076052"/>
              <a:gd name="connsiteY4" fmla="*/ 4660309 h 4660309"/>
              <a:gd name="connsiteX5" fmla="*/ 0 w 14076052"/>
              <a:gd name="connsiteY5" fmla="*/ 4660309 h 4660309"/>
              <a:gd name="connsiteX6" fmla="*/ 0 w 14076052"/>
              <a:gd name="connsiteY6" fmla="*/ 3939580 h 4660309"/>
              <a:gd name="connsiteX7" fmla="*/ 0 w 14076052"/>
              <a:gd name="connsiteY7" fmla="*/ 3939579 h 4660309"/>
              <a:gd name="connsiteX8" fmla="*/ 10946 w 14076052"/>
              <a:gd name="connsiteY8" fmla="*/ 0 h 4660309"/>
              <a:gd name="connsiteX0" fmla="*/ 10946 w 7377817"/>
              <a:gd name="connsiteY0" fmla="*/ 0 h 4660309"/>
              <a:gd name="connsiteX1" fmla="*/ 7377363 w 7377817"/>
              <a:gd name="connsiteY1" fmla="*/ 940 h 4660309"/>
              <a:gd name="connsiteX2" fmla="*/ 7372199 w 7377817"/>
              <a:gd name="connsiteY2" fmla="*/ 3917840 h 4660309"/>
              <a:gd name="connsiteX3" fmla="*/ 342000 w 7377817"/>
              <a:gd name="connsiteY3" fmla="*/ 3939580 h 4660309"/>
              <a:gd name="connsiteX4" fmla="*/ 16115 w 7377817"/>
              <a:gd name="connsiteY4" fmla="*/ 4660309 h 4660309"/>
              <a:gd name="connsiteX5" fmla="*/ 0 w 7377817"/>
              <a:gd name="connsiteY5" fmla="*/ 4660309 h 4660309"/>
              <a:gd name="connsiteX6" fmla="*/ 0 w 7377817"/>
              <a:gd name="connsiteY6" fmla="*/ 3939580 h 4660309"/>
              <a:gd name="connsiteX7" fmla="*/ 0 w 7377817"/>
              <a:gd name="connsiteY7" fmla="*/ 3939579 h 4660309"/>
              <a:gd name="connsiteX8" fmla="*/ 10946 w 7377817"/>
              <a:gd name="connsiteY8" fmla="*/ 0 h 4660309"/>
              <a:gd name="connsiteX0" fmla="*/ 10946 w 7372199"/>
              <a:gd name="connsiteY0" fmla="*/ 0 h 4660309"/>
              <a:gd name="connsiteX1" fmla="*/ 4794209 w 7372199"/>
              <a:gd name="connsiteY1" fmla="*/ 940 h 4660309"/>
              <a:gd name="connsiteX2" fmla="*/ 7372199 w 7372199"/>
              <a:gd name="connsiteY2" fmla="*/ 3917840 h 4660309"/>
              <a:gd name="connsiteX3" fmla="*/ 342000 w 7372199"/>
              <a:gd name="connsiteY3" fmla="*/ 3939580 h 4660309"/>
              <a:gd name="connsiteX4" fmla="*/ 16115 w 7372199"/>
              <a:gd name="connsiteY4" fmla="*/ 4660309 h 4660309"/>
              <a:gd name="connsiteX5" fmla="*/ 0 w 7372199"/>
              <a:gd name="connsiteY5" fmla="*/ 4660309 h 4660309"/>
              <a:gd name="connsiteX6" fmla="*/ 0 w 7372199"/>
              <a:gd name="connsiteY6" fmla="*/ 3939580 h 4660309"/>
              <a:gd name="connsiteX7" fmla="*/ 0 w 7372199"/>
              <a:gd name="connsiteY7" fmla="*/ 3939579 h 4660309"/>
              <a:gd name="connsiteX8" fmla="*/ 10946 w 7372199"/>
              <a:gd name="connsiteY8" fmla="*/ 0 h 4660309"/>
              <a:gd name="connsiteX0" fmla="*/ 10946 w 4810936"/>
              <a:gd name="connsiteY0" fmla="*/ 0 h 4660309"/>
              <a:gd name="connsiteX1" fmla="*/ 4794209 w 4810936"/>
              <a:gd name="connsiteY1" fmla="*/ 940 h 4660309"/>
              <a:gd name="connsiteX2" fmla="*/ 4810936 w 4810936"/>
              <a:gd name="connsiteY2" fmla="*/ 3917840 h 4660309"/>
              <a:gd name="connsiteX3" fmla="*/ 342000 w 4810936"/>
              <a:gd name="connsiteY3" fmla="*/ 3939580 h 4660309"/>
              <a:gd name="connsiteX4" fmla="*/ 16115 w 4810936"/>
              <a:gd name="connsiteY4" fmla="*/ 4660309 h 4660309"/>
              <a:gd name="connsiteX5" fmla="*/ 0 w 4810936"/>
              <a:gd name="connsiteY5" fmla="*/ 4660309 h 4660309"/>
              <a:gd name="connsiteX6" fmla="*/ 0 w 4810936"/>
              <a:gd name="connsiteY6" fmla="*/ 3939580 h 4660309"/>
              <a:gd name="connsiteX7" fmla="*/ 0 w 4810936"/>
              <a:gd name="connsiteY7" fmla="*/ 3939579 h 4660309"/>
              <a:gd name="connsiteX8" fmla="*/ 10946 w 4810936"/>
              <a:gd name="connsiteY8" fmla="*/ 0 h 4660309"/>
              <a:gd name="connsiteX0" fmla="*/ 10946 w 4794215"/>
              <a:gd name="connsiteY0" fmla="*/ 0 h 4660309"/>
              <a:gd name="connsiteX1" fmla="*/ 4794209 w 4794215"/>
              <a:gd name="connsiteY1" fmla="*/ 940 h 4660309"/>
              <a:gd name="connsiteX2" fmla="*/ 3942469 w 4794215"/>
              <a:gd name="connsiteY2" fmla="*/ 3937729 h 4660309"/>
              <a:gd name="connsiteX3" fmla="*/ 342000 w 4794215"/>
              <a:gd name="connsiteY3" fmla="*/ 3939580 h 4660309"/>
              <a:gd name="connsiteX4" fmla="*/ 16115 w 4794215"/>
              <a:gd name="connsiteY4" fmla="*/ 4660309 h 4660309"/>
              <a:gd name="connsiteX5" fmla="*/ 0 w 4794215"/>
              <a:gd name="connsiteY5" fmla="*/ 4660309 h 4660309"/>
              <a:gd name="connsiteX6" fmla="*/ 0 w 4794215"/>
              <a:gd name="connsiteY6" fmla="*/ 3939580 h 4660309"/>
              <a:gd name="connsiteX7" fmla="*/ 0 w 4794215"/>
              <a:gd name="connsiteY7" fmla="*/ 3939579 h 4660309"/>
              <a:gd name="connsiteX8" fmla="*/ 10946 w 4794215"/>
              <a:gd name="connsiteY8" fmla="*/ 0 h 4660309"/>
              <a:gd name="connsiteX0" fmla="*/ 10946 w 3955965"/>
              <a:gd name="connsiteY0" fmla="*/ 0 h 4660309"/>
              <a:gd name="connsiteX1" fmla="*/ 3955691 w 3955965"/>
              <a:gd name="connsiteY1" fmla="*/ 940 h 4660309"/>
              <a:gd name="connsiteX2" fmla="*/ 3942469 w 3955965"/>
              <a:gd name="connsiteY2" fmla="*/ 3937729 h 4660309"/>
              <a:gd name="connsiteX3" fmla="*/ 342000 w 3955965"/>
              <a:gd name="connsiteY3" fmla="*/ 3939580 h 4660309"/>
              <a:gd name="connsiteX4" fmla="*/ 16115 w 3955965"/>
              <a:gd name="connsiteY4" fmla="*/ 4660309 h 4660309"/>
              <a:gd name="connsiteX5" fmla="*/ 0 w 3955965"/>
              <a:gd name="connsiteY5" fmla="*/ 4660309 h 4660309"/>
              <a:gd name="connsiteX6" fmla="*/ 0 w 3955965"/>
              <a:gd name="connsiteY6" fmla="*/ 3939580 h 4660309"/>
              <a:gd name="connsiteX7" fmla="*/ 0 w 3955965"/>
              <a:gd name="connsiteY7" fmla="*/ 3939579 h 4660309"/>
              <a:gd name="connsiteX8" fmla="*/ 10946 w 3955965"/>
              <a:gd name="connsiteY8" fmla="*/ 0 h 4660309"/>
              <a:gd name="connsiteX0" fmla="*/ 10946 w 4918981"/>
              <a:gd name="connsiteY0" fmla="*/ 0 h 4660309"/>
              <a:gd name="connsiteX1" fmla="*/ 3955691 w 4918981"/>
              <a:gd name="connsiteY1" fmla="*/ 940 h 4660309"/>
              <a:gd name="connsiteX2" fmla="*/ 4918981 w 4918981"/>
              <a:gd name="connsiteY2" fmla="*/ 3937729 h 4660309"/>
              <a:gd name="connsiteX3" fmla="*/ 342000 w 4918981"/>
              <a:gd name="connsiteY3" fmla="*/ 3939580 h 4660309"/>
              <a:gd name="connsiteX4" fmla="*/ 16115 w 4918981"/>
              <a:gd name="connsiteY4" fmla="*/ 4660309 h 4660309"/>
              <a:gd name="connsiteX5" fmla="*/ 0 w 4918981"/>
              <a:gd name="connsiteY5" fmla="*/ 4660309 h 4660309"/>
              <a:gd name="connsiteX6" fmla="*/ 0 w 4918981"/>
              <a:gd name="connsiteY6" fmla="*/ 3939580 h 4660309"/>
              <a:gd name="connsiteX7" fmla="*/ 0 w 4918981"/>
              <a:gd name="connsiteY7" fmla="*/ 3939579 h 4660309"/>
              <a:gd name="connsiteX8" fmla="*/ 10946 w 4918981"/>
              <a:gd name="connsiteY8" fmla="*/ 0 h 4660309"/>
              <a:gd name="connsiteX0" fmla="*/ 10946 w 4918981"/>
              <a:gd name="connsiteY0" fmla="*/ 0 h 4660309"/>
              <a:gd name="connsiteX1" fmla="*/ 4898237 w 4918981"/>
              <a:gd name="connsiteY1" fmla="*/ 940 h 4660309"/>
              <a:gd name="connsiteX2" fmla="*/ 4918981 w 4918981"/>
              <a:gd name="connsiteY2" fmla="*/ 3937729 h 4660309"/>
              <a:gd name="connsiteX3" fmla="*/ 342000 w 4918981"/>
              <a:gd name="connsiteY3" fmla="*/ 3939580 h 4660309"/>
              <a:gd name="connsiteX4" fmla="*/ 16115 w 4918981"/>
              <a:gd name="connsiteY4" fmla="*/ 4660309 h 4660309"/>
              <a:gd name="connsiteX5" fmla="*/ 0 w 4918981"/>
              <a:gd name="connsiteY5" fmla="*/ 4660309 h 4660309"/>
              <a:gd name="connsiteX6" fmla="*/ 0 w 4918981"/>
              <a:gd name="connsiteY6" fmla="*/ 3939580 h 4660309"/>
              <a:gd name="connsiteX7" fmla="*/ 0 w 4918981"/>
              <a:gd name="connsiteY7" fmla="*/ 3939579 h 4660309"/>
              <a:gd name="connsiteX8" fmla="*/ 10946 w 4918981"/>
              <a:gd name="connsiteY8" fmla="*/ 0 h 4660309"/>
              <a:gd name="connsiteX0" fmla="*/ 10946 w 5470923"/>
              <a:gd name="connsiteY0" fmla="*/ 0 h 4660309"/>
              <a:gd name="connsiteX1" fmla="*/ 4898237 w 5470923"/>
              <a:gd name="connsiteY1" fmla="*/ 940 h 4660309"/>
              <a:gd name="connsiteX2" fmla="*/ 5470923 w 5470923"/>
              <a:gd name="connsiteY2" fmla="*/ 3929270 h 4660309"/>
              <a:gd name="connsiteX3" fmla="*/ 342000 w 5470923"/>
              <a:gd name="connsiteY3" fmla="*/ 3939580 h 4660309"/>
              <a:gd name="connsiteX4" fmla="*/ 16115 w 5470923"/>
              <a:gd name="connsiteY4" fmla="*/ 4660309 h 4660309"/>
              <a:gd name="connsiteX5" fmla="*/ 0 w 5470923"/>
              <a:gd name="connsiteY5" fmla="*/ 4660309 h 4660309"/>
              <a:gd name="connsiteX6" fmla="*/ 0 w 5470923"/>
              <a:gd name="connsiteY6" fmla="*/ 3939580 h 4660309"/>
              <a:gd name="connsiteX7" fmla="*/ 0 w 5470923"/>
              <a:gd name="connsiteY7" fmla="*/ 3939579 h 4660309"/>
              <a:gd name="connsiteX8" fmla="*/ 10946 w 5470923"/>
              <a:gd name="connsiteY8" fmla="*/ 0 h 4660309"/>
              <a:gd name="connsiteX0" fmla="*/ 10946 w 5470923"/>
              <a:gd name="connsiteY0" fmla="*/ 7518 h 4667827"/>
              <a:gd name="connsiteX1" fmla="*/ 5450179 w 5470923"/>
              <a:gd name="connsiteY1" fmla="*/ 0 h 4667827"/>
              <a:gd name="connsiteX2" fmla="*/ 5470923 w 5470923"/>
              <a:gd name="connsiteY2" fmla="*/ 3936788 h 4667827"/>
              <a:gd name="connsiteX3" fmla="*/ 342000 w 5470923"/>
              <a:gd name="connsiteY3" fmla="*/ 3947098 h 4667827"/>
              <a:gd name="connsiteX4" fmla="*/ 16115 w 5470923"/>
              <a:gd name="connsiteY4" fmla="*/ 4667827 h 4667827"/>
              <a:gd name="connsiteX5" fmla="*/ 0 w 5470923"/>
              <a:gd name="connsiteY5" fmla="*/ 4667827 h 4667827"/>
              <a:gd name="connsiteX6" fmla="*/ 0 w 5470923"/>
              <a:gd name="connsiteY6" fmla="*/ 3947098 h 4667827"/>
              <a:gd name="connsiteX7" fmla="*/ 0 w 5470923"/>
              <a:gd name="connsiteY7" fmla="*/ 3947097 h 4667827"/>
              <a:gd name="connsiteX8" fmla="*/ 10946 w 5470923"/>
              <a:gd name="connsiteY8" fmla="*/ 7518 h 4667827"/>
              <a:gd name="connsiteX0" fmla="*/ 10946 w 5450650"/>
              <a:gd name="connsiteY0" fmla="*/ 7518 h 4667827"/>
              <a:gd name="connsiteX1" fmla="*/ 5450179 w 5450650"/>
              <a:gd name="connsiteY1" fmla="*/ 0 h 4667827"/>
              <a:gd name="connsiteX2" fmla="*/ 5445449 w 5450650"/>
              <a:gd name="connsiteY2" fmla="*/ 3936789 h 4667827"/>
              <a:gd name="connsiteX3" fmla="*/ 342000 w 5450650"/>
              <a:gd name="connsiteY3" fmla="*/ 3947098 h 4667827"/>
              <a:gd name="connsiteX4" fmla="*/ 16115 w 5450650"/>
              <a:gd name="connsiteY4" fmla="*/ 4667827 h 4667827"/>
              <a:gd name="connsiteX5" fmla="*/ 0 w 5450650"/>
              <a:gd name="connsiteY5" fmla="*/ 4667827 h 4667827"/>
              <a:gd name="connsiteX6" fmla="*/ 0 w 5450650"/>
              <a:gd name="connsiteY6" fmla="*/ 3947098 h 4667827"/>
              <a:gd name="connsiteX7" fmla="*/ 0 w 5450650"/>
              <a:gd name="connsiteY7" fmla="*/ 3947097 h 4667827"/>
              <a:gd name="connsiteX8" fmla="*/ 10946 w 5450650"/>
              <a:gd name="connsiteY8" fmla="*/ 7518 h 4667827"/>
              <a:gd name="connsiteX0" fmla="*/ 10946 w 6265360"/>
              <a:gd name="connsiteY0" fmla="*/ 15977 h 4676286"/>
              <a:gd name="connsiteX1" fmla="*/ 6265354 w 6265360"/>
              <a:gd name="connsiteY1" fmla="*/ 0 h 4676286"/>
              <a:gd name="connsiteX2" fmla="*/ 5445449 w 6265360"/>
              <a:gd name="connsiteY2" fmla="*/ 3945248 h 4676286"/>
              <a:gd name="connsiteX3" fmla="*/ 342000 w 6265360"/>
              <a:gd name="connsiteY3" fmla="*/ 3955557 h 4676286"/>
              <a:gd name="connsiteX4" fmla="*/ 16115 w 6265360"/>
              <a:gd name="connsiteY4" fmla="*/ 4676286 h 4676286"/>
              <a:gd name="connsiteX5" fmla="*/ 0 w 6265360"/>
              <a:gd name="connsiteY5" fmla="*/ 4676286 h 4676286"/>
              <a:gd name="connsiteX6" fmla="*/ 0 w 6265360"/>
              <a:gd name="connsiteY6" fmla="*/ 3955557 h 4676286"/>
              <a:gd name="connsiteX7" fmla="*/ 0 w 6265360"/>
              <a:gd name="connsiteY7" fmla="*/ 3955556 h 4676286"/>
              <a:gd name="connsiteX8" fmla="*/ 10946 w 6265360"/>
              <a:gd name="connsiteY8" fmla="*/ 15977 h 4676286"/>
              <a:gd name="connsiteX0" fmla="*/ 10946 w 6277606"/>
              <a:gd name="connsiteY0" fmla="*/ 15977 h 4676286"/>
              <a:gd name="connsiteX1" fmla="*/ 6265354 w 6277606"/>
              <a:gd name="connsiteY1" fmla="*/ 0 h 4676286"/>
              <a:gd name="connsiteX2" fmla="*/ 6277606 w 6277606"/>
              <a:gd name="connsiteY2" fmla="*/ 3928330 h 4676286"/>
              <a:gd name="connsiteX3" fmla="*/ 342000 w 6277606"/>
              <a:gd name="connsiteY3" fmla="*/ 3955557 h 4676286"/>
              <a:gd name="connsiteX4" fmla="*/ 16115 w 6277606"/>
              <a:gd name="connsiteY4" fmla="*/ 4676286 h 4676286"/>
              <a:gd name="connsiteX5" fmla="*/ 0 w 6277606"/>
              <a:gd name="connsiteY5" fmla="*/ 4676286 h 4676286"/>
              <a:gd name="connsiteX6" fmla="*/ 0 w 6277606"/>
              <a:gd name="connsiteY6" fmla="*/ 3955557 h 4676286"/>
              <a:gd name="connsiteX7" fmla="*/ 0 w 6277606"/>
              <a:gd name="connsiteY7" fmla="*/ 3955556 h 4676286"/>
              <a:gd name="connsiteX8" fmla="*/ 10946 w 6277606"/>
              <a:gd name="connsiteY8" fmla="*/ 15977 h 4676286"/>
              <a:gd name="connsiteX0" fmla="*/ 10946 w 6277606"/>
              <a:gd name="connsiteY0" fmla="*/ 15977 h 4676286"/>
              <a:gd name="connsiteX1" fmla="*/ 6265354 w 6277606"/>
              <a:gd name="connsiteY1" fmla="*/ 0 h 4676286"/>
              <a:gd name="connsiteX2" fmla="*/ 6277606 w 6277606"/>
              <a:gd name="connsiteY2" fmla="*/ 3953707 h 4676286"/>
              <a:gd name="connsiteX3" fmla="*/ 342000 w 6277606"/>
              <a:gd name="connsiteY3" fmla="*/ 3955557 h 4676286"/>
              <a:gd name="connsiteX4" fmla="*/ 16115 w 6277606"/>
              <a:gd name="connsiteY4" fmla="*/ 4676286 h 4676286"/>
              <a:gd name="connsiteX5" fmla="*/ 0 w 6277606"/>
              <a:gd name="connsiteY5" fmla="*/ 4676286 h 4676286"/>
              <a:gd name="connsiteX6" fmla="*/ 0 w 6277606"/>
              <a:gd name="connsiteY6" fmla="*/ 3955557 h 4676286"/>
              <a:gd name="connsiteX7" fmla="*/ 0 w 6277606"/>
              <a:gd name="connsiteY7" fmla="*/ 3955556 h 4676286"/>
              <a:gd name="connsiteX8" fmla="*/ 10946 w 6277606"/>
              <a:gd name="connsiteY8" fmla="*/ 15977 h 4676286"/>
              <a:gd name="connsiteX0" fmla="*/ 10946 w 6277606"/>
              <a:gd name="connsiteY0" fmla="*/ 7519 h 4667828"/>
              <a:gd name="connsiteX1" fmla="*/ 6273845 w 6277606"/>
              <a:gd name="connsiteY1" fmla="*/ 0 h 4667828"/>
              <a:gd name="connsiteX2" fmla="*/ 6277606 w 6277606"/>
              <a:gd name="connsiteY2" fmla="*/ 3945249 h 4667828"/>
              <a:gd name="connsiteX3" fmla="*/ 342000 w 6277606"/>
              <a:gd name="connsiteY3" fmla="*/ 3947099 h 4667828"/>
              <a:gd name="connsiteX4" fmla="*/ 16115 w 6277606"/>
              <a:gd name="connsiteY4" fmla="*/ 4667828 h 4667828"/>
              <a:gd name="connsiteX5" fmla="*/ 0 w 6277606"/>
              <a:gd name="connsiteY5" fmla="*/ 4667828 h 4667828"/>
              <a:gd name="connsiteX6" fmla="*/ 0 w 6277606"/>
              <a:gd name="connsiteY6" fmla="*/ 3947099 h 4667828"/>
              <a:gd name="connsiteX7" fmla="*/ 0 w 6277606"/>
              <a:gd name="connsiteY7" fmla="*/ 3947098 h 4667828"/>
              <a:gd name="connsiteX8" fmla="*/ 10946 w 6277606"/>
              <a:gd name="connsiteY8" fmla="*/ 7519 h 4667828"/>
              <a:gd name="connsiteX0" fmla="*/ 10946 w 6882630"/>
              <a:gd name="connsiteY0" fmla="*/ 7519 h 4667828"/>
              <a:gd name="connsiteX1" fmla="*/ 6882621 w 6882630"/>
              <a:gd name="connsiteY1" fmla="*/ 0 h 4667828"/>
              <a:gd name="connsiteX2" fmla="*/ 6277606 w 6882630"/>
              <a:gd name="connsiteY2" fmla="*/ 3945249 h 4667828"/>
              <a:gd name="connsiteX3" fmla="*/ 342000 w 6882630"/>
              <a:gd name="connsiteY3" fmla="*/ 3947099 h 4667828"/>
              <a:gd name="connsiteX4" fmla="*/ 16115 w 6882630"/>
              <a:gd name="connsiteY4" fmla="*/ 4667828 h 4667828"/>
              <a:gd name="connsiteX5" fmla="*/ 0 w 6882630"/>
              <a:gd name="connsiteY5" fmla="*/ 4667828 h 4667828"/>
              <a:gd name="connsiteX6" fmla="*/ 0 w 6882630"/>
              <a:gd name="connsiteY6" fmla="*/ 3947099 h 4667828"/>
              <a:gd name="connsiteX7" fmla="*/ 0 w 6882630"/>
              <a:gd name="connsiteY7" fmla="*/ 3947098 h 4667828"/>
              <a:gd name="connsiteX8" fmla="*/ 10946 w 6882630"/>
              <a:gd name="connsiteY8" fmla="*/ 7519 h 4667828"/>
              <a:gd name="connsiteX0" fmla="*/ 10946 w 6882903"/>
              <a:gd name="connsiteY0" fmla="*/ 7519 h 4667828"/>
              <a:gd name="connsiteX1" fmla="*/ 6882621 w 6882903"/>
              <a:gd name="connsiteY1" fmla="*/ 0 h 4667828"/>
              <a:gd name="connsiteX2" fmla="*/ 6869929 w 6882903"/>
              <a:gd name="connsiteY2" fmla="*/ 3937054 h 4667828"/>
              <a:gd name="connsiteX3" fmla="*/ 342000 w 6882903"/>
              <a:gd name="connsiteY3" fmla="*/ 3947099 h 4667828"/>
              <a:gd name="connsiteX4" fmla="*/ 16115 w 6882903"/>
              <a:gd name="connsiteY4" fmla="*/ 4667828 h 4667828"/>
              <a:gd name="connsiteX5" fmla="*/ 0 w 6882903"/>
              <a:gd name="connsiteY5" fmla="*/ 4667828 h 4667828"/>
              <a:gd name="connsiteX6" fmla="*/ 0 w 6882903"/>
              <a:gd name="connsiteY6" fmla="*/ 3947099 h 4667828"/>
              <a:gd name="connsiteX7" fmla="*/ 0 w 6882903"/>
              <a:gd name="connsiteY7" fmla="*/ 3947098 h 4667828"/>
              <a:gd name="connsiteX8" fmla="*/ 10946 w 6882903"/>
              <a:gd name="connsiteY8" fmla="*/ 7519 h 4667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882903" h="4667828">
                <a:moveTo>
                  <a:pt x="10946" y="7519"/>
                </a:moveTo>
                <a:lnTo>
                  <a:pt x="6882621" y="0"/>
                </a:lnTo>
                <a:cubicBezTo>
                  <a:pt x="6885360" y="1796957"/>
                  <a:pt x="6867190" y="2140097"/>
                  <a:pt x="6869929" y="3937054"/>
                </a:cubicBezTo>
                <a:lnTo>
                  <a:pt x="342000" y="3947099"/>
                </a:lnTo>
                <a:lnTo>
                  <a:pt x="16115" y="4667828"/>
                </a:lnTo>
                <a:lnTo>
                  <a:pt x="0" y="4667828"/>
                </a:lnTo>
                <a:lnTo>
                  <a:pt x="0" y="3947099"/>
                </a:lnTo>
                <a:lnTo>
                  <a:pt x="0" y="3947098"/>
                </a:lnTo>
                <a:cubicBezTo>
                  <a:pt x="3649" y="2633905"/>
                  <a:pt x="7297" y="1320712"/>
                  <a:pt x="10946" y="7519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noProof="0"/>
          </a:p>
        </p:txBody>
      </p:sp>
      <p:sp>
        <p:nvSpPr>
          <p:cNvPr id="13" name="Untertitel 2"/>
          <p:cNvSpPr>
            <a:spLocks noGrp="1"/>
          </p:cNvSpPr>
          <p:nvPr>
            <p:ph type="subTitle" idx="1"/>
          </p:nvPr>
        </p:nvSpPr>
        <p:spPr>
          <a:xfrm>
            <a:off x="983432" y="4005064"/>
            <a:ext cx="6984776" cy="621178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"/>
              <a:t>Formatvorlage des Untertitelmasters durch Klicken bearbeiten</a:t>
            </a:r>
          </a:p>
        </p:txBody>
      </p:sp>
      <p:sp>
        <p:nvSpPr>
          <p:cNvPr id="14" name="Titel 11"/>
          <p:cNvSpPr>
            <a:spLocks noGrp="1"/>
          </p:cNvSpPr>
          <p:nvPr>
            <p:ph type="title" hasCustomPrompt="1"/>
          </p:nvPr>
        </p:nvSpPr>
        <p:spPr>
          <a:xfrm>
            <a:off x="914049" y="899255"/>
            <a:ext cx="6334475" cy="1350434"/>
          </a:xfrm>
        </p:spPr>
        <p:txBody>
          <a:bodyPr anchor="t">
            <a:normAutofit/>
          </a:bodyPr>
          <a:lstStyle>
            <a:lvl1pPr algn="l"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"/>
              <a:t>Titelmasterformat </a:t>
            </a:r>
            <a:br>
              <a:rPr lang="de-DE"/>
            </a:br>
            <a:r>
              <a:rPr lang="de"/>
              <a:t>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111347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5536" y="6270848"/>
            <a:ext cx="1980244" cy="359767"/>
          </a:xfrm>
          <a:prstGeom prst="rect">
            <a:avLst/>
          </a:prstGeom>
        </p:spPr>
      </p:pic>
      <p:sp>
        <p:nvSpPr>
          <p:cNvPr id="24" name="Untertitel 2"/>
          <p:cNvSpPr>
            <a:spLocks noGrp="1"/>
          </p:cNvSpPr>
          <p:nvPr>
            <p:ph type="subTitle" idx="1"/>
          </p:nvPr>
        </p:nvSpPr>
        <p:spPr>
          <a:xfrm>
            <a:off x="911424" y="2348880"/>
            <a:ext cx="5904000" cy="62117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"/>
              <a:t>Formatvorlage des Untertitelmasters durch Klicken bearbeiten</a:t>
            </a:r>
          </a:p>
        </p:txBody>
      </p:sp>
      <p:sp>
        <p:nvSpPr>
          <p:cNvPr id="25" name="Titel 11"/>
          <p:cNvSpPr>
            <a:spLocks noGrp="1"/>
          </p:cNvSpPr>
          <p:nvPr>
            <p:ph type="title" hasCustomPrompt="1"/>
          </p:nvPr>
        </p:nvSpPr>
        <p:spPr>
          <a:xfrm>
            <a:off x="914049" y="899255"/>
            <a:ext cx="5902031" cy="1350434"/>
          </a:xfrm>
        </p:spPr>
        <p:txBody>
          <a:bodyPr anchor="t">
            <a:normAutofit/>
          </a:bodyPr>
          <a:lstStyle>
            <a:lvl1pPr algn="l">
              <a:defRPr sz="3500" b="0">
                <a:solidFill>
                  <a:schemeClr val="tx1"/>
                </a:solidFill>
              </a:defRPr>
            </a:lvl1pPr>
          </a:lstStyle>
          <a:p>
            <a:r>
              <a:rPr lang="de"/>
              <a:t>Titelmasterformat </a:t>
            </a:r>
            <a:br>
              <a:rPr lang="de-DE"/>
            </a:br>
            <a:r>
              <a:rPr lang="de"/>
              <a:t>durch Klicken bearbeiten</a:t>
            </a:r>
          </a:p>
        </p:txBody>
      </p:sp>
      <p:pic>
        <p:nvPicPr>
          <p:cNvPr id="6" name="Grafik 5" descr="Ein Bild, das Text, Geschirr enthält.&#10;&#10;Automatisch generierte Beschreibung">
            <a:extLst>
              <a:ext uri="{FF2B5EF4-FFF2-40B4-BE49-F238E27FC236}">
                <a16:creationId xmlns:a16="http://schemas.microsoft.com/office/drawing/2014/main" id="{C905248A-3F8D-4EA5-9C1D-945882E3E9F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738" y="6237360"/>
            <a:ext cx="1519806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5778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5536" y="6270848"/>
            <a:ext cx="1980244" cy="359767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50299" y="6206609"/>
            <a:ext cx="2373581" cy="540000"/>
          </a:xfrm>
          <a:prstGeom prst="rect">
            <a:avLst/>
          </a:prstGeom>
        </p:spPr>
      </p:pic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911424" y="2348880"/>
            <a:ext cx="5904000" cy="62117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"/>
              <a:t>Formatvorlage des Untertitelmasters durch Klicken bearbeiten</a:t>
            </a:r>
          </a:p>
        </p:txBody>
      </p:sp>
      <p:sp>
        <p:nvSpPr>
          <p:cNvPr id="13" name="Titel 11"/>
          <p:cNvSpPr>
            <a:spLocks noGrp="1"/>
          </p:cNvSpPr>
          <p:nvPr>
            <p:ph type="title" hasCustomPrompt="1"/>
          </p:nvPr>
        </p:nvSpPr>
        <p:spPr>
          <a:xfrm>
            <a:off x="914049" y="899255"/>
            <a:ext cx="5902031" cy="1350434"/>
          </a:xfrm>
        </p:spPr>
        <p:txBody>
          <a:bodyPr anchor="t">
            <a:normAutofit/>
          </a:bodyPr>
          <a:lstStyle>
            <a:lvl1pPr algn="l">
              <a:defRPr sz="3500" b="0">
                <a:solidFill>
                  <a:schemeClr val="tx1"/>
                </a:solidFill>
              </a:defRPr>
            </a:lvl1pPr>
          </a:lstStyle>
          <a:p>
            <a:r>
              <a:rPr lang="de"/>
              <a:t>Titelmasterformat </a:t>
            </a:r>
            <a:br>
              <a:rPr lang="de-DE"/>
            </a:br>
            <a:r>
              <a:rPr lang="de"/>
              <a:t>durch Klicken bearbeiten</a:t>
            </a:r>
          </a:p>
        </p:txBody>
      </p:sp>
      <p:pic>
        <p:nvPicPr>
          <p:cNvPr id="8" name="Grafik 7" descr="Ein Bild, das Text, Geschirr enthält.&#10;&#10;Automatisch generierte Beschreibung">
            <a:extLst>
              <a:ext uri="{FF2B5EF4-FFF2-40B4-BE49-F238E27FC236}">
                <a16:creationId xmlns:a16="http://schemas.microsoft.com/office/drawing/2014/main" id="{6DE9D799-7347-4155-B10C-F135EEA707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843" y="5858270"/>
            <a:ext cx="1519806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539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5536" y="6270848"/>
            <a:ext cx="1980244" cy="359767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55366" y="6206609"/>
            <a:ext cx="1229104" cy="540000"/>
          </a:xfrm>
          <a:prstGeom prst="rect">
            <a:avLst/>
          </a:prstGeom>
        </p:spPr>
      </p:pic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911424" y="2348880"/>
            <a:ext cx="5904000" cy="62117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"/>
              <a:t>Formatvorlage des Untertitelmasters durch Klicken bearbeiten</a:t>
            </a:r>
          </a:p>
        </p:txBody>
      </p:sp>
      <p:sp>
        <p:nvSpPr>
          <p:cNvPr id="13" name="Titel 11"/>
          <p:cNvSpPr>
            <a:spLocks noGrp="1"/>
          </p:cNvSpPr>
          <p:nvPr>
            <p:ph type="title" hasCustomPrompt="1"/>
          </p:nvPr>
        </p:nvSpPr>
        <p:spPr>
          <a:xfrm>
            <a:off x="914049" y="899255"/>
            <a:ext cx="5902031" cy="1350434"/>
          </a:xfrm>
        </p:spPr>
        <p:txBody>
          <a:bodyPr anchor="t">
            <a:normAutofit/>
          </a:bodyPr>
          <a:lstStyle>
            <a:lvl1pPr algn="l">
              <a:defRPr sz="3500" b="0">
                <a:solidFill>
                  <a:schemeClr val="tx1"/>
                </a:solidFill>
              </a:defRPr>
            </a:lvl1pPr>
          </a:lstStyle>
          <a:p>
            <a:r>
              <a:rPr lang="de"/>
              <a:t>Titelmasterformat </a:t>
            </a:r>
            <a:br>
              <a:rPr lang="de-DE"/>
            </a:br>
            <a:r>
              <a:rPr lang="de"/>
              <a:t>durch Klicken bearbeiten</a:t>
            </a:r>
          </a:p>
        </p:txBody>
      </p:sp>
      <p:pic>
        <p:nvPicPr>
          <p:cNvPr id="8" name="Grafik 7" descr="Ein Bild, das Text, Geschirr enthält.&#10;&#10;Automatisch generierte Beschreibung">
            <a:extLst>
              <a:ext uri="{FF2B5EF4-FFF2-40B4-BE49-F238E27FC236}">
                <a16:creationId xmlns:a16="http://schemas.microsoft.com/office/drawing/2014/main" id="{0DF1B9AD-94BD-4759-9C55-CE8194D0AF9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843" y="5858270"/>
            <a:ext cx="1519806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450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5536" y="6270848"/>
            <a:ext cx="1980244" cy="359767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52872" y="6206609"/>
            <a:ext cx="1382238" cy="540000"/>
          </a:xfrm>
          <a:prstGeom prst="rect">
            <a:avLst/>
          </a:prstGeom>
        </p:spPr>
      </p:pic>
      <p:sp>
        <p:nvSpPr>
          <p:cNvPr id="11" name="Untertitel 2"/>
          <p:cNvSpPr>
            <a:spLocks noGrp="1"/>
          </p:cNvSpPr>
          <p:nvPr>
            <p:ph type="subTitle" idx="1"/>
          </p:nvPr>
        </p:nvSpPr>
        <p:spPr>
          <a:xfrm>
            <a:off x="911424" y="2348880"/>
            <a:ext cx="5904000" cy="62117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"/>
              <a:t>Formatvorlage des Untertitelmasters durch Klicken bearbeiten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914049" y="899255"/>
            <a:ext cx="5902031" cy="1350434"/>
          </a:xfrm>
        </p:spPr>
        <p:txBody>
          <a:bodyPr anchor="t">
            <a:normAutofit/>
          </a:bodyPr>
          <a:lstStyle>
            <a:lvl1pPr algn="l">
              <a:defRPr sz="3500" b="0">
                <a:solidFill>
                  <a:schemeClr val="tx1"/>
                </a:solidFill>
              </a:defRPr>
            </a:lvl1pPr>
          </a:lstStyle>
          <a:p>
            <a:r>
              <a:rPr lang="de"/>
              <a:t>Titelmasterformat </a:t>
            </a:r>
            <a:br>
              <a:rPr lang="de-DE"/>
            </a:br>
            <a:r>
              <a:rPr lang="de"/>
              <a:t>durch Klicken bearbeiten</a:t>
            </a:r>
          </a:p>
        </p:txBody>
      </p:sp>
      <p:pic>
        <p:nvPicPr>
          <p:cNvPr id="8" name="Grafik 7" descr="Ein Bild, das Text, Geschirr enthält.&#10;&#10;Automatisch generierte Beschreibung">
            <a:extLst>
              <a:ext uri="{FF2B5EF4-FFF2-40B4-BE49-F238E27FC236}">
                <a16:creationId xmlns:a16="http://schemas.microsoft.com/office/drawing/2014/main" id="{B9297C73-F7E3-4487-B2AE-1A983C5F111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843" y="5858270"/>
            <a:ext cx="1519806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0266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18.jp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6278906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1" imgW="360" imgH="360" progId="TCLayout.ActiveDocument.1">
                  <p:embed/>
                </p:oleObj>
              </mc:Choice>
              <mc:Fallback>
                <p:oleObj name="think-cell Folie" r:id="rId21" imgW="360" imgH="36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34963" y="188640"/>
            <a:ext cx="11522075" cy="791369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/>
          <a:p>
            <a:r>
              <a:rPr lang="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34963" y="1484784"/>
            <a:ext cx="11522075" cy="4619625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lvl="0"/>
            <a:r>
              <a:rPr lang="de"/>
              <a:t>Textmasterformat bearbeiten</a:t>
            </a:r>
          </a:p>
          <a:p>
            <a:pPr lvl="1"/>
            <a:r>
              <a:rPr lang="de"/>
              <a:t>Zweite Ebene</a:t>
            </a:r>
          </a:p>
          <a:p>
            <a:pPr lvl="2"/>
            <a:r>
              <a:rPr lang="de"/>
              <a:t>Dritte Ebene</a:t>
            </a:r>
          </a:p>
          <a:p>
            <a:pPr lvl="3"/>
            <a:r>
              <a:rPr lang="de"/>
              <a:t>Vierte Ebene</a:t>
            </a:r>
          </a:p>
          <a:p>
            <a:pPr lvl="4"/>
            <a:r>
              <a:rPr lang="de"/>
              <a:t>Fünfte Ebene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334963" y="1124025"/>
            <a:ext cx="11522075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 userDrawn="1"/>
        </p:nvCxnSpPr>
        <p:spPr>
          <a:xfrm>
            <a:off x="334963" y="6391088"/>
            <a:ext cx="11522075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 userDrawn="1"/>
        </p:nvSpPr>
        <p:spPr>
          <a:xfrm>
            <a:off x="365143" y="6520940"/>
            <a:ext cx="20358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fld id="{989FD945-C36C-4546-B652-364A4DFE48E4}" type="slidenum">
              <a:rPr lang="de-DE" sz="800" smtClean="0"/>
              <a:pPr algn="l"/>
              <a:t>‹Nr.›</a:t>
            </a:fld>
            <a:endParaRPr lang="de-DE" sz="800" dirty="0"/>
          </a:p>
        </p:txBody>
      </p:sp>
      <p:pic>
        <p:nvPicPr>
          <p:cNvPr id="13" name="Grafik 12" descr="PPT_Logo.png"/>
          <p:cNvPicPr>
            <a:picLocks noChangeAspect="1"/>
          </p:cNvPicPr>
          <p:nvPr userDrawn="1"/>
        </p:nvPicPr>
        <p:blipFill>
          <a:blip r:embed="rId23" cstate="print"/>
          <a:stretch>
            <a:fillRect/>
          </a:stretch>
        </p:blipFill>
        <p:spPr bwMode="gray">
          <a:xfrm>
            <a:off x="10658271" y="6520940"/>
            <a:ext cx="1224136" cy="176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124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3984" r:id="rId6"/>
    <p:sldLayoutId id="2147483985" r:id="rId7"/>
    <p:sldLayoutId id="2147483986" r:id="rId8"/>
    <p:sldLayoutId id="2147483987" r:id="rId9"/>
    <p:sldLayoutId id="2147483988" r:id="rId10"/>
    <p:sldLayoutId id="2147483989" r:id="rId11"/>
    <p:sldLayoutId id="2147483990" r:id="rId12"/>
    <p:sldLayoutId id="2147483991" r:id="rId13"/>
    <p:sldLayoutId id="2147483992" r:id="rId14"/>
    <p:sldLayoutId id="2147483993" r:id="rId15"/>
    <p:sldLayoutId id="2147483994" r:id="rId16"/>
    <p:sldLayoutId id="2147483995" r:id="rId17"/>
    <p:sldLayoutId id="2147483996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3038" algn="l" defTabSz="914400" rtl="0" eaLnBrk="1" latinLnBrk="0" hangingPunct="1">
        <a:lnSpc>
          <a:spcPct val="100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825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725" indent="-169863" algn="l" defTabSz="914400" rtl="0" eaLnBrk="1" latinLnBrk="0" hangingPunct="1">
        <a:lnSpc>
          <a:spcPct val="100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21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8479343" y="292335"/>
            <a:ext cx="3712657" cy="3654189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464733" y="1377090"/>
            <a:ext cx="2189480" cy="7027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50" b="0" i="0">
                <a:solidFill>
                  <a:schemeClr val="bg1"/>
                </a:solidFill>
                <a:latin typeface="Roboto"/>
                <a:cs typeface="Robo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59834" y="2052964"/>
            <a:ext cx="6737773" cy="19951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400" b="1" i="0">
                <a:solidFill>
                  <a:schemeClr val="tx1"/>
                </a:solidFill>
                <a:latin typeface="Roboto"/>
                <a:cs typeface="Roboto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6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1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67521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0A6430E-54E6-4BE7-1C10-CCC200FF595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2369939" y="251959"/>
            <a:ext cx="2824704" cy="6354081"/>
          </a:xfrm>
          <a:prstGeom prst="rect">
            <a:avLst/>
          </a:prstGeom>
          <a:solidFill>
            <a:schemeClr val="accent6">
              <a:lumMod val="75000"/>
              <a:alpha val="68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/>
            <a:r>
              <a:rPr lang="de-DE" b="1">
                <a:solidFill>
                  <a:schemeClr val="bg1"/>
                </a:solidFill>
              </a:rPr>
              <a:t>Primäre Farben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DF308E2-5418-EC31-F720-FBDA707702A4}"/>
              </a:ext>
            </a:extLst>
          </p:cNvPr>
          <p:cNvSpPr/>
          <p:nvPr userDrawn="1"/>
        </p:nvSpPr>
        <p:spPr>
          <a:xfrm>
            <a:off x="12446366" y="786833"/>
            <a:ext cx="798059" cy="798059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B2EE576-4075-D701-CB68-C9366A4F0081}"/>
              </a:ext>
            </a:extLst>
          </p:cNvPr>
          <p:cNvSpPr/>
          <p:nvPr userDrawn="1"/>
        </p:nvSpPr>
        <p:spPr>
          <a:xfrm>
            <a:off x="12446366" y="1676287"/>
            <a:ext cx="798059" cy="79805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8509265F-DFEA-B385-C8D8-1C154B1EE3BA}"/>
              </a:ext>
            </a:extLst>
          </p:cNvPr>
          <p:cNvSpPr/>
          <p:nvPr userDrawn="1"/>
        </p:nvSpPr>
        <p:spPr>
          <a:xfrm>
            <a:off x="12446366" y="2565741"/>
            <a:ext cx="798059" cy="798059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F4C4C2A-1296-9F56-1274-1997C8002C5B}"/>
              </a:ext>
            </a:extLst>
          </p:cNvPr>
          <p:cNvSpPr/>
          <p:nvPr userDrawn="1"/>
        </p:nvSpPr>
        <p:spPr>
          <a:xfrm>
            <a:off x="12446366" y="3455195"/>
            <a:ext cx="798059" cy="798059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5F019DFA-6FAB-0F0D-1BC9-EAA179E2E363}"/>
              </a:ext>
            </a:extLst>
          </p:cNvPr>
          <p:cNvSpPr/>
          <p:nvPr userDrawn="1"/>
        </p:nvSpPr>
        <p:spPr>
          <a:xfrm>
            <a:off x="12446366" y="4782683"/>
            <a:ext cx="798059" cy="798059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D182E38-BF74-AB20-1B01-8F53EB8A4F2B}"/>
              </a:ext>
            </a:extLst>
          </p:cNvPr>
          <p:cNvSpPr/>
          <p:nvPr userDrawn="1"/>
        </p:nvSpPr>
        <p:spPr>
          <a:xfrm>
            <a:off x="12446366" y="5672137"/>
            <a:ext cx="798059" cy="798059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29E0DF1-BAA0-A124-8EB0-37D1DC37E3D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2616747" y="4272860"/>
            <a:ext cx="24176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>
                <a:solidFill>
                  <a:schemeClr val="bg1"/>
                </a:solidFill>
              </a:rPr>
              <a:t>Sekundäre Farben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1B4FE5F-A1F6-AD44-2E42-4A817CDADA67}"/>
              </a:ext>
            </a:extLst>
          </p:cNvPr>
          <p:cNvGrpSpPr/>
          <p:nvPr userDrawn="1"/>
        </p:nvGrpSpPr>
        <p:grpSpPr>
          <a:xfrm>
            <a:off x="13294353" y="847308"/>
            <a:ext cx="1632178" cy="677108"/>
            <a:chOff x="13383253" y="597616"/>
            <a:chExt cx="1632178" cy="677108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2FE02A4-5A24-A026-0539-E44B9971E791}"/>
                </a:ext>
              </a:extLst>
            </p:cNvPr>
            <p:cNvSpPr txBox="1"/>
            <p:nvPr userDrawn="1"/>
          </p:nvSpPr>
          <p:spPr>
            <a:xfrm>
              <a:off x="13383253" y="597616"/>
              <a:ext cx="163217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b="1"/>
                <a:t>RGB</a:t>
              </a:r>
              <a:r>
                <a:rPr lang="de-DE" sz="1600"/>
                <a:t> 24, 37, 79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8C010E1-6D8B-C8EA-EF5B-D16F761DC457}"/>
                </a:ext>
              </a:extLst>
            </p:cNvPr>
            <p:cNvSpPr txBox="1"/>
            <p:nvPr userDrawn="1"/>
          </p:nvSpPr>
          <p:spPr>
            <a:xfrm>
              <a:off x="13383253" y="936170"/>
              <a:ext cx="153439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b="1"/>
                <a:t>HEX</a:t>
              </a:r>
              <a:r>
                <a:rPr lang="de-DE" sz="1600"/>
                <a:t> #18254F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A3F0F93-87DF-CF26-CBA0-7A95AF8A0FDA}"/>
              </a:ext>
            </a:extLst>
          </p:cNvPr>
          <p:cNvGrpSpPr/>
          <p:nvPr userDrawn="1"/>
        </p:nvGrpSpPr>
        <p:grpSpPr>
          <a:xfrm>
            <a:off x="13294353" y="1736762"/>
            <a:ext cx="1717137" cy="677108"/>
            <a:chOff x="13383253" y="597616"/>
            <a:chExt cx="1717137" cy="677108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FE4365F-A8A0-6AF2-D9B8-DEC769D00EA4}"/>
                </a:ext>
              </a:extLst>
            </p:cNvPr>
            <p:cNvSpPr txBox="1"/>
            <p:nvPr userDrawn="1"/>
          </p:nvSpPr>
          <p:spPr>
            <a:xfrm>
              <a:off x="13383253" y="597616"/>
              <a:ext cx="171713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b="1"/>
                <a:t>RGB</a:t>
              </a:r>
              <a:r>
                <a:rPr lang="de-DE" sz="1600"/>
                <a:t> 60, 76, 157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CA9F95A-360D-B00E-9AAC-4C54689A310A}"/>
                </a:ext>
              </a:extLst>
            </p:cNvPr>
            <p:cNvSpPr txBox="1"/>
            <p:nvPr userDrawn="1"/>
          </p:nvSpPr>
          <p:spPr>
            <a:xfrm>
              <a:off x="13383253" y="936170"/>
              <a:ext cx="167225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b="1"/>
                <a:t>HEX</a:t>
              </a:r>
              <a:r>
                <a:rPr lang="de-DE" sz="1600"/>
                <a:t> #3C4C9D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FEEC8C-D20F-D3A6-7DE2-B848CCC43ACB}"/>
              </a:ext>
            </a:extLst>
          </p:cNvPr>
          <p:cNvGrpSpPr/>
          <p:nvPr userDrawn="1"/>
        </p:nvGrpSpPr>
        <p:grpSpPr>
          <a:xfrm>
            <a:off x="13317260" y="2626216"/>
            <a:ext cx="1819729" cy="677108"/>
            <a:chOff x="13383253" y="597616"/>
            <a:chExt cx="1819729" cy="677108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CDD8FB6-73E6-2DAF-F548-90CE0EFF5954}"/>
                </a:ext>
              </a:extLst>
            </p:cNvPr>
            <p:cNvSpPr txBox="1"/>
            <p:nvPr userDrawn="1"/>
          </p:nvSpPr>
          <p:spPr>
            <a:xfrm>
              <a:off x="13383253" y="597616"/>
              <a:ext cx="181972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b="1"/>
                <a:t>RGB</a:t>
              </a:r>
              <a:r>
                <a:rPr lang="de-DE" sz="1600"/>
                <a:t> 111, 204, 221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5BFE305-AF7C-1FE3-1242-73C7A7E11561}"/>
                </a:ext>
              </a:extLst>
            </p:cNvPr>
            <p:cNvSpPr txBox="1"/>
            <p:nvPr userDrawn="1"/>
          </p:nvSpPr>
          <p:spPr>
            <a:xfrm>
              <a:off x="13383253" y="936170"/>
              <a:ext cx="172034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b="1"/>
                <a:t>HEX</a:t>
              </a:r>
              <a:r>
                <a:rPr lang="de-DE" sz="1600"/>
                <a:t> #6FCCDD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8868272-4742-F238-07CC-3DB1FE7D97EB}"/>
              </a:ext>
            </a:extLst>
          </p:cNvPr>
          <p:cNvGrpSpPr/>
          <p:nvPr userDrawn="1"/>
        </p:nvGrpSpPr>
        <p:grpSpPr>
          <a:xfrm>
            <a:off x="13317260" y="3515670"/>
            <a:ext cx="1709122" cy="677108"/>
            <a:chOff x="13383253" y="597616"/>
            <a:chExt cx="1709122" cy="677108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934AADF-BFCA-09CD-CD4B-DA783FDFCDD0}"/>
                </a:ext>
              </a:extLst>
            </p:cNvPr>
            <p:cNvSpPr txBox="1"/>
            <p:nvPr userDrawn="1"/>
          </p:nvSpPr>
          <p:spPr>
            <a:xfrm>
              <a:off x="13383253" y="597616"/>
              <a:ext cx="170912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b="1"/>
                <a:t>RGB</a:t>
              </a:r>
              <a:r>
                <a:rPr lang="de-DE" sz="1600"/>
                <a:t> 203, 36, 91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D1EE6B2-C24C-8970-DAD9-F5F5DA649037}"/>
                </a:ext>
              </a:extLst>
            </p:cNvPr>
            <p:cNvSpPr txBox="1"/>
            <p:nvPr userDrawn="1"/>
          </p:nvSpPr>
          <p:spPr>
            <a:xfrm>
              <a:off x="13383253" y="936170"/>
              <a:ext cx="165782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b="1"/>
                <a:t>HEX</a:t>
              </a:r>
              <a:r>
                <a:rPr lang="de-DE" sz="1600"/>
                <a:t> #CB245B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9079C17-78DE-0E63-BF49-82817775303C}"/>
              </a:ext>
            </a:extLst>
          </p:cNvPr>
          <p:cNvGrpSpPr/>
          <p:nvPr userDrawn="1"/>
        </p:nvGrpSpPr>
        <p:grpSpPr>
          <a:xfrm>
            <a:off x="13304682" y="4843158"/>
            <a:ext cx="1622560" cy="677108"/>
            <a:chOff x="13383253" y="597616"/>
            <a:chExt cx="1622560" cy="677108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CC608F7-8C53-8A09-73CF-EFD554492A75}"/>
                </a:ext>
              </a:extLst>
            </p:cNvPr>
            <p:cNvSpPr txBox="1"/>
            <p:nvPr userDrawn="1"/>
          </p:nvSpPr>
          <p:spPr>
            <a:xfrm>
              <a:off x="13383253" y="597616"/>
              <a:ext cx="162256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b="1"/>
                <a:t>RGB</a:t>
              </a:r>
              <a:r>
                <a:rPr lang="de-DE" sz="1600"/>
                <a:t> 21, 50, 118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EB7BCC0-780D-AA79-18BE-AD0F94A6C5B9}"/>
                </a:ext>
              </a:extLst>
            </p:cNvPr>
            <p:cNvSpPr txBox="1"/>
            <p:nvPr userDrawn="1"/>
          </p:nvSpPr>
          <p:spPr>
            <a:xfrm>
              <a:off x="13383253" y="936170"/>
              <a:ext cx="149752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b="1"/>
                <a:t>HEX</a:t>
              </a:r>
              <a:r>
                <a:rPr lang="de-DE" sz="1600"/>
                <a:t> #153276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6803FA0-9E2C-B675-B8B9-FBA106442D68}"/>
              </a:ext>
            </a:extLst>
          </p:cNvPr>
          <p:cNvGrpSpPr/>
          <p:nvPr userDrawn="1"/>
        </p:nvGrpSpPr>
        <p:grpSpPr>
          <a:xfrm>
            <a:off x="13304682" y="5732612"/>
            <a:ext cx="1931939" cy="677108"/>
            <a:chOff x="13383253" y="597616"/>
            <a:chExt cx="1931939" cy="677108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8D214A01-3771-9154-9798-BCABCBBBEB81}"/>
                </a:ext>
              </a:extLst>
            </p:cNvPr>
            <p:cNvSpPr txBox="1"/>
            <p:nvPr userDrawn="1"/>
          </p:nvSpPr>
          <p:spPr>
            <a:xfrm>
              <a:off x="13383253" y="597616"/>
              <a:ext cx="193193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b="1"/>
                <a:t>RGB</a:t>
              </a:r>
              <a:r>
                <a:rPr lang="de-DE" sz="1600"/>
                <a:t> 183, 188, 207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EB13AD1-C202-F7AA-8E9F-E5801B98E589}"/>
                </a:ext>
              </a:extLst>
            </p:cNvPr>
            <p:cNvSpPr txBox="1"/>
            <p:nvPr userDrawn="1"/>
          </p:nvSpPr>
          <p:spPr>
            <a:xfrm>
              <a:off x="13383253" y="936170"/>
              <a:ext cx="168668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b="1"/>
                <a:t>HEX</a:t>
              </a:r>
              <a:r>
                <a:rPr lang="de-DE" sz="1600"/>
                <a:t> #B7BCCF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1146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  <p:sldLayoutId id="2147484007" r:id="rId4"/>
    <p:sldLayoutId id="2147484008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5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4088">
          <p15:clr>
            <a:srgbClr val="F26B43"/>
          </p15:clr>
        </p15:guide>
        <p15:guide id="5" pos="325">
          <p15:clr>
            <a:srgbClr val="F26B43"/>
          </p15:clr>
        </p15:guide>
        <p15:guide id="6" pos="7355">
          <p15:clr>
            <a:srgbClr val="F26B43"/>
          </p15:clr>
        </p15:guide>
        <p15:guide id="7" orient="horz" pos="550">
          <p15:clr>
            <a:srgbClr val="F26B43"/>
          </p15:clr>
        </p15:guide>
        <p15:guide id="8" orient="horz" pos="1003">
          <p15:clr>
            <a:srgbClr val="F26B43"/>
          </p15:clr>
        </p15:guide>
        <p15:guide id="9" orient="horz" pos="39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34836" y="2709828"/>
            <a:ext cx="5593080" cy="911013"/>
          </a:xfrm>
          <a:prstGeom prst="rect">
            <a:avLst/>
          </a:prstGeom>
        </p:spPr>
        <p:txBody>
          <a:bodyPr vert="horz" wrap="square" lIns="0" tIns="8467" rIns="0" bIns="0" rtlCol="0">
            <a:spAutoFit/>
          </a:bodyPr>
          <a:lstStyle/>
          <a:p>
            <a:pPr marL="8467" marR="3387" lvl="0" indent="0" algn="l" defTabSz="914400" rtl="0" eaLnBrk="1" fontAlgn="auto" latinLnBrk="0" hangingPunct="1">
              <a:lnSpc>
                <a:spcPct val="100000"/>
              </a:lnSpc>
              <a:spcBef>
                <a:spcPts val="6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9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Strategische</a:t>
            </a:r>
            <a:r>
              <a:rPr kumimoji="0" sz="2933" b="1" i="0" u="none" strike="noStrike" kern="1200" cap="none" spc="-1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 </a:t>
            </a:r>
            <a:r>
              <a:rPr kumimoji="0" sz="29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HR‑IT</a:t>
            </a:r>
            <a:r>
              <a:rPr kumimoji="0" sz="2933" b="1" i="0" u="none" strike="noStrike" kern="1200" cap="none" spc="-18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 </a:t>
            </a:r>
            <a:r>
              <a:rPr kumimoji="0" sz="29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Roadmaps</a:t>
            </a:r>
            <a:r>
              <a:rPr kumimoji="0" sz="2933" b="1" i="0" u="none" strike="noStrike" kern="1200" cap="none" spc="-12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 </a:t>
            </a:r>
            <a:r>
              <a:rPr kumimoji="0" sz="2933" b="1" i="0" u="none" strike="noStrike" kern="1200" cap="none" spc="-1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im </a:t>
            </a:r>
            <a:r>
              <a:rPr kumimoji="0" sz="2933" b="1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Mittelstand</a:t>
            </a:r>
            <a:endParaRPr kumimoji="0" sz="29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+mn-ea"/>
              <a:cs typeface="Roboto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44606" y="1575075"/>
            <a:ext cx="4233333" cy="711200"/>
          </a:xfrm>
          <a:custGeom>
            <a:avLst/>
            <a:gdLst/>
            <a:ahLst/>
            <a:cxnLst/>
            <a:rect l="l" t="t" r="r" b="b"/>
            <a:pathLst>
              <a:path w="6350000" h="1066800">
                <a:moveTo>
                  <a:pt x="533034" y="0"/>
                </a:moveTo>
                <a:lnTo>
                  <a:pt x="493814" y="1444"/>
                </a:lnTo>
                <a:lnTo>
                  <a:pt x="441877" y="7850"/>
                </a:lnTo>
                <a:lnTo>
                  <a:pt x="390823" y="19311"/>
                </a:lnTo>
                <a:lnTo>
                  <a:pt x="341139" y="35729"/>
                </a:lnTo>
                <a:lnTo>
                  <a:pt x="293308" y="56930"/>
                </a:lnTo>
                <a:lnTo>
                  <a:pt x="247776" y="82723"/>
                </a:lnTo>
                <a:lnTo>
                  <a:pt x="204995" y="112850"/>
                </a:lnTo>
                <a:lnTo>
                  <a:pt x="165374" y="147029"/>
                </a:lnTo>
                <a:lnTo>
                  <a:pt x="129297" y="184921"/>
                </a:lnTo>
                <a:lnTo>
                  <a:pt x="97105" y="226179"/>
                </a:lnTo>
                <a:lnTo>
                  <a:pt x="69111" y="270384"/>
                </a:lnTo>
                <a:lnTo>
                  <a:pt x="45581" y="317115"/>
                </a:lnTo>
                <a:lnTo>
                  <a:pt x="26754" y="365940"/>
                </a:lnTo>
                <a:lnTo>
                  <a:pt x="12798" y="416367"/>
                </a:lnTo>
                <a:lnTo>
                  <a:pt x="3852" y="467925"/>
                </a:lnTo>
                <a:lnTo>
                  <a:pt x="0" y="520111"/>
                </a:lnTo>
                <a:lnTo>
                  <a:pt x="0" y="546277"/>
                </a:lnTo>
                <a:lnTo>
                  <a:pt x="3852" y="598462"/>
                </a:lnTo>
                <a:lnTo>
                  <a:pt x="12798" y="650012"/>
                </a:lnTo>
                <a:lnTo>
                  <a:pt x="26754" y="700446"/>
                </a:lnTo>
                <a:lnTo>
                  <a:pt x="45581" y="749265"/>
                </a:lnTo>
                <a:lnTo>
                  <a:pt x="69111" y="796004"/>
                </a:lnTo>
                <a:lnTo>
                  <a:pt x="97105" y="840208"/>
                </a:lnTo>
                <a:lnTo>
                  <a:pt x="129297" y="881459"/>
                </a:lnTo>
                <a:lnTo>
                  <a:pt x="165374" y="919354"/>
                </a:lnTo>
                <a:lnTo>
                  <a:pt x="204995" y="953536"/>
                </a:lnTo>
                <a:lnTo>
                  <a:pt x="247776" y="983657"/>
                </a:lnTo>
                <a:lnTo>
                  <a:pt x="293308" y="1009456"/>
                </a:lnTo>
                <a:lnTo>
                  <a:pt x="341139" y="1030651"/>
                </a:lnTo>
                <a:lnTo>
                  <a:pt x="390823" y="1047068"/>
                </a:lnTo>
                <a:lnTo>
                  <a:pt x="441877" y="1058537"/>
                </a:lnTo>
                <a:lnTo>
                  <a:pt x="493814" y="1064942"/>
                </a:lnTo>
                <a:lnTo>
                  <a:pt x="5816641" y="1066393"/>
                </a:lnTo>
                <a:lnTo>
                  <a:pt x="5829738" y="1066231"/>
                </a:lnTo>
                <a:lnTo>
                  <a:pt x="5881919" y="1062377"/>
                </a:lnTo>
                <a:lnTo>
                  <a:pt x="5933470" y="1053431"/>
                </a:lnTo>
                <a:lnTo>
                  <a:pt x="5983903" y="1039474"/>
                </a:lnTo>
                <a:lnTo>
                  <a:pt x="6032722" y="1020643"/>
                </a:lnTo>
                <a:lnTo>
                  <a:pt x="6079455" y="997118"/>
                </a:lnTo>
                <a:lnTo>
                  <a:pt x="6123670" y="969122"/>
                </a:lnTo>
                <a:lnTo>
                  <a:pt x="6164916" y="936934"/>
                </a:lnTo>
                <a:lnTo>
                  <a:pt x="6202816" y="900850"/>
                </a:lnTo>
                <a:lnTo>
                  <a:pt x="6236989" y="861229"/>
                </a:lnTo>
                <a:lnTo>
                  <a:pt x="6267122" y="818449"/>
                </a:lnTo>
                <a:lnTo>
                  <a:pt x="6292911" y="772923"/>
                </a:lnTo>
                <a:lnTo>
                  <a:pt x="6314109" y="725082"/>
                </a:lnTo>
                <a:lnTo>
                  <a:pt x="6330526" y="675398"/>
                </a:lnTo>
                <a:lnTo>
                  <a:pt x="6341994" y="624347"/>
                </a:lnTo>
                <a:lnTo>
                  <a:pt x="6348399" y="572417"/>
                </a:lnTo>
                <a:lnTo>
                  <a:pt x="6349688" y="520111"/>
                </a:lnTo>
                <a:lnTo>
                  <a:pt x="6348399" y="493966"/>
                </a:lnTo>
                <a:lnTo>
                  <a:pt x="6341994" y="442037"/>
                </a:lnTo>
                <a:lnTo>
                  <a:pt x="6330526" y="390983"/>
                </a:lnTo>
                <a:lnTo>
                  <a:pt x="6314109" y="341299"/>
                </a:lnTo>
                <a:lnTo>
                  <a:pt x="6292911" y="293463"/>
                </a:lnTo>
                <a:lnTo>
                  <a:pt x="6267122" y="247934"/>
                </a:lnTo>
                <a:lnTo>
                  <a:pt x="6236989" y="205155"/>
                </a:lnTo>
                <a:lnTo>
                  <a:pt x="6202816" y="165536"/>
                </a:lnTo>
                <a:lnTo>
                  <a:pt x="6164916" y="129454"/>
                </a:lnTo>
                <a:lnTo>
                  <a:pt x="6123670" y="97262"/>
                </a:lnTo>
                <a:lnTo>
                  <a:pt x="6079455" y="69267"/>
                </a:lnTo>
                <a:lnTo>
                  <a:pt x="6032722" y="45743"/>
                </a:lnTo>
                <a:lnTo>
                  <a:pt x="5983903" y="26911"/>
                </a:lnTo>
                <a:lnTo>
                  <a:pt x="5933470" y="12955"/>
                </a:lnTo>
                <a:lnTo>
                  <a:pt x="5881919" y="4013"/>
                </a:lnTo>
                <a:lnTo>
                  <a:pt x="5829738" y="161"/>
                </a:lnTo>
                <a:lnTo>
                  <a:pt x="533034" y="0"/>
                </a:lnTo>
                <a:close/>
              </a:path>
            </a:pathLst>
          </a:custGeom>
          <a:solidFill>
            <a:srgbClr val="F7A94D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34837" y="4253506"/>
            <a:ext cx="360257" cy="301413"/>
          </a:xfrm>
          <a:prstGeom prst="rect">
            <a:avLst/>
          </a:prstGeom>
        </p:spPr>
        <p:txBody>
          <a:bodyPr vert="horz" wrap="square" lIns="0" tIns="8467" rIns="0" bIns="0" rtlCol="0">
            <a:spAutoFit/>
          </a:bodyPr>
          <a:lstStyle/>
          <a:p>
            <a:pPr marL="8467" marR="0" lvl="0" indent="0" algn="l" defTabSz="914400" rtl="0" eaLnBrk="1" fontAlgn="auto" latinLnBrk="0" hangingPunct="1">
              <a:lnSpc>
                <a:spcPct val="100000"/>
              </a:lnSpc>
              <a:spcBef>
                <a:spcPts val="6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67" b="0" i="0" u="none" strike="noStrike" kern="1200" cap="none" spc="-1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mit</a:t>
            </a:r>
            <a:endParaRPr kumimoji="0" sz="18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+mn-ea"/>
              <a:cs typeface="Roboto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067699" y="4588718"/>
            <a:ext cx="2756747" cy="1154853"/>
          </a:xfrm>
          <a:prstGeom prst="rect">
            <a:avLst/>
          </a:prstGeom>
        </p:spPr>
        <p:txBody>
          <a:bodyPr vert="horz" wrap="square" lIns="0" tIns="8467" rIns="0" bIns="0" rtlCol="0">
            <a:spAutoFit/>
          </a:bodyPr>
          <a:lstStyle/>
          <a:p>
            <a:pPr marL="8467" marR="0" lvl="0" indent="0" algn="just" defTabSz="914400" rtl="0" eaLnBrk="1" fontAlgn="auto" latinLnBrk="0" hangingPunct="1">
              <a:lnSpc>
                <a:spcPct val="100000"/>
              </a:lnSpc>
              <a:spcBef>
                <a:spcPts val="6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Christoph</a:t>
            </a:r>
            <a:r>
              <a:rPr kumimoji="0" sz="1867" b="1" i="0" u="none" strike="noStrike" kern="1200" cap="none" spc="-8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 </a:t>
            </a:r>
            <a:r>
              <a:rPr kumimoji="0" sz="1867" b="1" i="0" u="none" strike="noStrike" kern="1200" cap="none" spc="-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Kuth</a:t>
            </a:r>
            <a:endParaRPr kumimoji="0" sz="18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+mn-ea"/>
              <a:cs typeface="Roboto"/>
            </a:endParaRPr>
          </a:p>
          <a:p>
            <a:pPr marL="8467" marR="3387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Manager</a:t>
            </a:r>
            <a:r>
              <a:rPr kumimoji="0" sz="1867" b="0" i="0" u="none" strike="noStrike" kern="1200" cap="none" spc="-6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 </a:t>
            </a:r>
            <a:r>
              <a:rPr kumimoji="0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HR</a:t>
            </a:r>
            <a:r>
              <a:rPr kumimoji="0" sz="1867" b="0" i="0" u="none" strike="noStrike" kern="1200" cap="none" spc="-6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 </a:t>
            </a:r>
            <a:r>
              <a:rPr kumimoji="0" sz="1867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Digitalization </a:t>
            </a:r>
            <a:r>
              <a:rPr kumimoji="0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(retired)</a:t>
            </a:r>
            <a:r>
              <a:rPr kumimoji="0" sz="1867" b="0" i="0" u="none" strike="noStrike" kern="1200" cap="none" spc="-3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 </a:t>
            </a:r>
            <a:r>
              <a:rPr kumimoji="0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·</a:t>
            </a:r>
            <a:r>
              <a:rPr kumimoji="0" sz="1867" b="0" i="0" u="none" strike="noStrike" kern="1200" cap="none" spc="-3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 </a:t>
            </a:r>
            <a:r>
              <a:rPr kumimoji="0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„Passion</a:t>
            </a:r>
            <a:r>
              <a:rPr kumimoji="0" sz="1867" b="1" i="0" u="none" strike="noStrike" kern="1200" cap="none" spc="-3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 </a:t>
            </a:r>
            <a:r>
              <a:rPr kumimoji="0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for</a:t>
            </a:r>
            <a:r>
              <a:rPr kumimoji="0" sz="1867" b="1" i="0" u="none" strike="noStrike" kern="1200" cap="none" spc="-3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 </a:t>
            </a:r>
            <a:r>
              <a:rPr kumimoji="0" sz="1867" b="1" i="0" u="none" strike="noStrike" kern="1200" cap="none" spc="-1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HR </a:t>
            </a:r>
            <a:r>
              <a:rPr kumimoji="0" sz="1867" b="1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Digitalization“</a:t>
            </a:r>
            <a:endParaRPr kumimoji="0" sz="18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+mn-ea"/>
              <a:cs typeface="Roboto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8306636" y="4588718"/>
            <a:ext cx="2982383" cy="585893"/>
          </a:xfrm>
          <a:prstGeom prst="rect">
            <a:avLst/>
          </a:prstGeom>
        </p:spPr>
        <p:txBody>
          <a:bodyPr vert="horz" wrap="square" lIns="0" tIns="8467" rIns="0" bIns="0" rtlCol="0">
            <a:spAutoFit/>
          </a:bodyPr>
          <a:lstStyle/>
          <a:p>
            <a:pPr marL="8467" marR="0" lvl="0" indent="0" algn="l" defTabSz="914400" rtl="0" eaLnBrk="1" fontAlgn="auto" latinLnBrk="0" hangingPunct="1">
              <a:lnSpc>
                <a:spcPct val="100000"/>
              </a:lnSpc>
              <a:spcBef>
                <a:spcPts val="6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Josef</a:t>
            </a:r>
            <a:r>
              <a:rPr kumimoji="0" sz="1867" b="1" i="0" u="none" strike="noStrike" kern="1200" cap="none" spc="-1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 </a:t>
            </a:r>
            <a:r>
              <a:rPr kumimoji="0" sz="1867" b="1" i="0" u="none" strike="noStrike" kern="1200" cap="none" spc="-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Parth</a:t>
            </a:r>
            <a:endParaRPr kumimoji="0" sz="18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+mn-ea"/>
              <a:cs typeface="Roboto"/>
            </a:endParaRPr>
          </a:p>
          <a:p>
            <a:pPr marL="8467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67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Geschäftsführer</a:t>
            </a:r>
            <a:r>
              <a:rPr kumimoji="0" sz="1867" b="0" i="0" u="none" strike="noStrike" kern="1200" cap="none" spc="-4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 </a:t>
            </a:r>
            <a:r>
              <a:rPr kumimoji="0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·</a:t>
            </a:r>
            <a:r>
              <a:rPr kumimoji="0" sz="1867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 </a:t>
            </a:r>
            <a:r>
              <a:rPr kumimoji="0" sz="1867" b="1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+mn-ea"/>
                <a:cs typeface="Roboto"/>
              </a:rPr>
              <a:t>reboot:HR</a:t>
            </a:r>
            <a:endParaRPr kumimoji="0" sz="18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+mn-ea"/>
              <a:cs typeface="Roboto"/>
            </a:endParaRPr>
          </a:p>
        </p:txBody>
      </p:sp>
      <p:pic>
        <p:nvPicPr>
          <p:cNvPr id="8" name="object 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403196" y="4830335"/>
            <a:ext cx="1740162" cy="2027665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145506" y="4966530"/>
            <a:ext cx="1751423" cy="1891470"/>
          </a:xfrm>
          <a:prstGeom prst="rect">
            <a:avLst/>
          </a:prstGeom>
        </p:spPr>
      </p:pic>
      <p:sp>
        <p:nvSpPr>
          <p:cNvPr id="12" name="object 4" descr="$PPTXTitle">
            <a:extLst>
              <a:ext uri="{FF2B5EF4-FFF2-40B4-BE49-F238E27FC236}">
                <a16:creationId xmlns:a16="http://schemas.microsoft.com/office/drawing/2014/main" id="{C185EEA2-1E40-7AEA-B763-97195143A30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91978" y="1758833"/>
            <a:ext cx="2338589" cy="3436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619">
              <a:lnSpc>
                <a:spcPct val="100000"/>
              </a:lnSpc>
              <a:spcBef>
                <a:spcPts val="53"/>
              </a:spcBef>
            </a:pPr>
            <a:r>
              <a:rPr lang="de-DE" dirty="0"/>
              <a:t>Impact</a:t>
            </a:r>
            <a:r>
              <a:rPr spc="2" dirty="0"/>
              <a:t> </a:t>
            </a:r>
            <a:r>
              <a:rPr spc="-5" dirty="0"/>
              <a:t>Session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7">
            <a:extLst>
              <a:ext uri="{FF2B5EF4-FFF2-40B4-BE49-F238E27FC236}">
                <a16:creationId xmlns:a16="http://schemas.microsoft.com/office/drawing/2014/main" id="{9BC0F8C1-DEF6-DDDB-4B99-831AFB69805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" name="Titel 6">
            <a:extLst>
              <a:ext uri="{FF2B5EF4-FFF2-40B4-BE49-F238E27FC236}">
                <a16:creationId xmlns:a16="http://schemas.microsoft.com/office/drawing/2014/main" id="{824F369F-8B43-922F-C184-7D98849E9251}"/>
              </a:ext>
            </a:extLst>
          </p:cNvPr>
          <p:cNvSpPr txBox="1">
            <a:spLocks/>
          </p:cNvSpPr>
          <p:nvPr/>
        </p:nvSpPr>
        <p:spPr>
          <a:xfrm>
            <a:off x="364693" y="177871"/>
            <a:ext cx="9612058" cy="5940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j-ea"/>
                <a:cs typeface="+mj-cs"/>
              </a:rPr>
              <a:t>What –</a:t>
            </a:r>
            <a:r>
              <a:rPr kumimoji="0" lang="hu-HU" sz="28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j-ea"/>
                <a:cs typeface="+mj-cs"/>
              </a:rPr>
              <a:t> </a:t>
            </a:r>
            <a:r>
              <a:rPr kumimoji="0" lang="hu-HU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j-ea"/>
                <a:cs typeface="+mj-cs"/>
              </a:rPr>
              <a:t>Implementation</a:t>
            </a:r>
            <a:r>
              <a:rPr kumimoji="0" lang="hu-HU" sz="28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j-ea"/>
                <a:cs typeface="+mj-cs"/>
              </a:rPr>
              <a:t> of </a:t>
            </a:r>
            <a:r>
              <a:rPr kumimoji="0" lang="hu-HU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j-ea"/>
                <a:cs typeface="+mj-cs"/>
              </a:rPr>
              <a:t>the</a:t>
            </a:r>
            <a:r>
              <a:rPr kumimoji="0" lang="hu-HU" sz="28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j-ea"/>
                <a:cs typeface="+mj-cs"/>
              </a:rPr>
              <a:t> </a:t>
            </a:r>
            <a:r>
              <a:rPr kumimoji="0" lang="hu-HU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j-ea"/>
                <a:cs typeface="+mj-cs"/>
              </a:rPr>
              <a:t>People</a:t>
            </a:r>
            <a:r>
              <a:rPr kumimoji="0" lang="hu-HU" sz="28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j-ea"/>
                <a:cs typeface="+mj-cs"/>
              </a:rPr>
              <a:t> </a:t>
            </a:r>
            <a:r>
              <a:rPr kumimoji="0" lang="hu-HU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j-ea"/>
                <a:cs typeface="+mj-cs"/>
              </a:rPr>
              <a:t>Strategy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j-ea"/>
                <a:cs typeface="+mj-cs"/>
              </a:rPr>
              <a:t> 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475529" y="1138509"/>
          <a:ext cx="11367221" cy="4979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35971">
                  <a:extLst>
                    <a:ext uri="{9D8B030D-6E8A-4147-A177-3AD203B41FA5}">
                      <a16:colId xmlns:a16="http://schemas.microsoft.com/office/drawing/2014/main" val="2051354020"/>
                    </a:ext>
                  </a:extLst>
                </a:gridCol>
                <a:gridCol w="3308350">
                  <a:extLst>
                    <a:ext uri="{9D8B030D-6E8A-4147-A177-3AD203B41FA5}">
                      <a16:colId xmlns:a16="http://schemas.microsoft.com/office/drawing/2014/main" val="399838266"/>
                    </a:ext>
                  </a:extLst>
                </a:gridCol>
                <a:gridCol w="1627288">
                  <a:extLst>
                    <a:ext uri="{9D8B030D-6E8A-4147-A177-3AD203B41FA5}">
                      <a16:colId xmlns:a16="http://schemas.microsoft.com/office/drawing/2014/main" val="1215091109"/>
                    </a:ext>
                  </a:extLst>
                </a:gridCol>
                <a:gridCol w="2112862">
                  <a:extLst>
                    <a:ext uri="{9D8B030D-6E8A-4147-A177-3AD203B41FA5}">
                      <a16:colId xmlns:a16="http://schemas.microsoft.com/office/drawing/2014/main" val="2274737095"/>
                    </a:ext>
                  </a:extLst>
                </a:gridCol>
                <a:gridCol w="1682750">
                  <a:extLst>
                    <a:ext uri="{9D8B030D-6E8A-4147-A177-3AD203B41FA5}">
                      <a16:colId xmlns:a16="http://schemas.microsoft.com/office/drawing/2014/main" val="3032928995"/>
                    </a:ext>
                  </a:extLst>
                </a:gridCol>
              </a:tblGrid>
              <a:tr h="1066626">
                <a:tc>
                  <a:txBody>
                    <a:bodyPr/>
                    <a:lstStyle/>
                    <a:p>
                      <a:r>
                        <a:rPr lang="en-US" sz="2000" noProof="0" dirty="0"/>
                        <a:t>Name</a:t>
                      </a:r>
                      <a:r>
                        <a:rPr lang="en-US" sz="2000" baseline="0" noProof="0" dirty="0"/>
                        <a:t> of strategic field</a:t>
                      </a:r>
                      <a:endParaRPr lang="en-US" sz="2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noProof="0" dirty="0"/>
                        <a:t>Cont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noProof="0" dirty="0"/>
                        <a:t>N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noProof="0" dirty="0"/>
                        <a:t>Defined b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noProof="0" dirty="0"/>
                        <a:t>Timefra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9279945"/>
                  </a:ext>
                </a:extLst>
              </a:tr>
              <a:tr h="1535941">
                <a:tc>
                  <a:txBody>
                    <a:bodyPr/>
                    <a:lstStyle/>
                    <a:p>
                      <a:r>
                        <a:rPr lang="en-US" sz="2000" noProof="0" dirty="0">
                          <a:solidFill>
                            <a:schemeClr val="accent1"/>
                          </a:solidFill>
                        </a:rPr>
                        <a:t>Strategic Action are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noProof="0" dirty="0">
                          <a:solidFill>
                            <a:schemeClr val="accent1"/>
                          </a:solidFill>
                        </a:rPr>
                        <a:t>Long-term goals derived from the requirements of key business stakehold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noProof="0" dirty="0">
                          <a:solidFill>
                            <a:schemeClr val="accent1"/>
                          </a:solidFill>
                        </a:rPr>
                        <a:t>Top-down</a:t>
                      </a:r>
                    </a:p>
                    <a:p>
                      <a:r>
                        <a:rPr lang="en-US" sz="1600" noProof="0" dirty="0">
                          <a:solidFill>
                            <a:schemeClr val="accent1"/>
                          </a:solidFill>
                        </a:rPr>
                        <a:t>(consultative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noProof="0" dirty="0">
                          <a:solidFill>
                            <a:schemeClr val="accent1"/>
                          </a:solidFill>
                        </a:rPr>
                        <a:t>Global HR 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noProof="0" dirty="0">
                          <a:solidFill>
                            <a:schemeClr val="accent1"/>
                          </a:solidFill>
                        </a:rPr>
                        <a:t>20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1292666"/>
                  </a:ext>
                </a:extLst>
              </a:tr>
              <a:tr h="1066626">
                <a:tc>
                  <a:txBody>
                    <a:bodyPr/>
                    <a:lstStyle/>
                    <a:p>
                      <a:r>
                        <a:rPr lang="en-US" sz="2000" noProof="0" dirty="0">
                          <a:solidFill>
                            <a:schemeClr val="accent1"/>
                          </a:solidFill>
                        </a:rPr>
                        <a:t>Global Priori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noProof="0" dirty="0">
                          <a:solidFill>
                            <a:schemeClr val="accent1"/>
                          </a:solidFill>
                        </a:rPr>
                        <a:t>Medium-</a:t>
                      </a:r>
                      <a:r>
                        <a:rPr lang="en-US" sz="2000" baseline="0" noProof="0" dirty="0">
                          <a:solidFill>
                            <a:schemeClr val="accent1"/>
                          </a:solidFill>
                        </a:rPr>
                        <a:t>term priorities derived from pain points impacting the business currently</a:t>
                      </a:r>
                      <a:endParaRPr lang="en-US" sz="2000" noProof="0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noProof="0" dirty="0">
                          <a:solidFill>
                            <a:schemeClr val="accent1"/>
                          </a:solidFill>
                        </a:rPr>
                        <a:t>Top-down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accent1"/>
                          </a:solidFill>
                        </a:rPr>
                        <a:t>(consultative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noProof="0" dirty="0">
                          <a:solidFill>
                            <a:schemeClr val="accent1"/>
                          </a:solidFill>
                        </a:rPr>
                        <a:t>Global HR 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noProof="0" dirty="0">
                          <a:solidFill>
                            <a:schemeClr val="accent1"/>
                          </a:solidFill>
                        </a:rPr>
                        <a:t>202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7653467"/>
                  </a:ext>
                </a:extLst>
              </a:tr>
              <a:tr h="1066626">
                <a:tc>
                  <a:txBody>
                    <a:bodyPr/>
                    <a:lstStyle/>
                    <a:p>
                      <a:r>
                        <a:rPr lang="en-US" sz="2000" noProof="0" dirty="0">
                          <a:solidFill>
                            <a:schemeClr val="accent1"/>
                          </a:solidFill>
                        </a:rPr>
                        <a:t>OK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noProof="0" dirty="0">
                          <a:solidFill>
                            <a:schemeClr val="accent1"/>
                          </a:solidFill>
                        </a:rPr>
                        <a:t>Global</a:t>
                      </a:r>
                      <a:r>
                        <a:rPr lang="en-US" sz="2000" baseline="0" noProof="0" dirty="0">
                          <a:solidFill>
                            <a:schemeClr val="accent1"/>
                          </a:solidFill>
                        </a:rPr>
                        <a:t> and local a</a:t>
                      </a:r>
                      <a:r>
                        <a:rPr lang="en-US" sz="2000" noProof="0" dirty="0">
                          <a:solidFill>
                            <a:schemeClr val="accent1"/>
                          </a:solidFill>
                        </a:rPr>
                        <a:t>ctions defined to implement</a:t>
                      </a:r>
                      <a:r>
                        <a:rPr lang="en-US" sz="2000" baseline="0" noProof="0" dirty="0">
                          <a:solidFill>
                            <a:schemeClr val="accent1"/>
                          </a:solidFill>
                        </a:rPr>
                        <a:t> Global Priorities</a:t>
                      </a:r>
                      <a:endParaRPr lang="en-US" sz="2000" noProof="0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noProof="0" dirty="0">
                          <a:solidFill>
                            <a:schemeClr val="accent1"/>
                          </a:solidFill>
                        </a:rPr>
                        <a:t>Top-down </a:t>
                      </a:r>
                      <a:r>
                        <a:rPr lang="en-US" sz="1600" noProof="0" dirty="0">
                          <a:solidFill>
                            <a:schemeClr val="accent1"/>
                          </a:solidFill>
                        </a:rPr>
                        <a:t>and</a:t>
                      </a:r>
                    </a:p>
                    <a:p>
                      <a:r>
                        <a:rPr lang="en-US" sz="2000" noProof="0" dirty="0">
                          <a:solidFill>
                            <a:schemeClr val="accent1"/>
                          </a:solidFill>
                        </a:rPr>
                        <a:t>Bottom-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noProof="0" dirty="0">
                          <a:solidFill>
                            <a:schemeClr val="accent1"/>
                          </a:solidFill>
                        </a:rPr>
                        <a:t>Global and Local HR Manag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noProof="0" dirty="0">
                          <a:solidFill>
                            <a:schemeClr val="accent1"/>
                          </a:solidFill>
                        </a:rPr>
                        <a:t>Quarterly revie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107357"/>
                  </a:ext>
                </a:extLst>
              </a:tr>
            </a:tbl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02F73EAD-C2C9-401D-2910-34EC998C97D6}"/>
              </a:ext>
            </a:extLst>
          </p:cNvPr>
          <p:cNvSpPr txBox="1"/>
          <p:nvPr/>
        </p:nvSpPr>
        <p:spPr>
          <a:xfrm rot="2066880">
            <a:off x="8993206" y="787261"/>
            <a:ext cx="3586659" cy="544573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ample Case</a:t>
            </a:r>
          </a:p>
        </p:txBody>
      </p:sp>
    </p:spTree>
    <p:extLst>
      <p:ext uri="{BB962C8B-B14F-4D97-AF65-F5344CB8AC3E}">
        <p14:creationId xmlns:p14="http://schemas.microsoft.com/office/powerpoint/2010/main" val="30416858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425412-AEAF-9DF0-ADCB-384A38737D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7">
            <a:extLst>
              <a:ext uri="{FF2B5EF4-FFF2-40B4-BE49-F238E27FC236}">
                <a16:creationId xmlns:a16="http://schemas.microsoft.com/office/drawing/2014/main" id="{7860B30E-FCF2-32F8-7EF3-11F38E436CD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A13A287-C599-423F-B37C-B37D94CC52D2}"/>
              </a:ext>
            </a:extLst>
          </p:cNvPr>
          <p:cNvSpPr txBox="1"/>
          <p:nvPr/>
        </p:nvSpPr>
        <p:spPr>
          <a:xfrm>
            <a:off x="4349323" y="2510118"/>
            <a:ext cx="3598741" cy="149637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hange 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anagement</a:t>
            </a:r>
          </a:p>
        </p:txBody>
      </p:sp>
    </p:spTree>
    <p:extLst>
      <p:ext uri="{BB962C8B-B14F-4D97-AF65-F5344CB8AC3E}">
        <p14:creationId xmlns:p14="http://schemas.microsoft.com/office/powerpoint/2010/main" val="14764412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7">
            <a:extLst>
              <a:ext uri="{FF2B5EF4-FFF2-40B4-BE49-F238E27FC236}">
                <a16:creationId xmlns:a16="http://schemas.microsoft.com/office/drawing/2014/main" id="{DE635345-EE84-E776-7773-342C569827B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FCCD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  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D18784EA-57F7-46A3-C3FC-EF12246478EA}"/>
              </a:ext>
            </a:extLst>
          </p:cNvPr>
          <p:cNvSpPr txBox="1">
            <a:spLocks/>
          </p:cNvSpPr>
          <p:nvPr/>
        </p:nvSpPr>
        <p:spPr bwMode="gray">
          <a:xfrm>
            <a:off x="1488000" y="372514"/>
            <a:ext cx="9216000" cy="594000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j-ea"/>
                <a:cs typeface="+mj-cs"/>
              </a:rPr>
              <a:t>Strategic Context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767F36A4-8706-75E0-34D0-DC4F566BE5BF}"/>
              </a:ext>
            </a:extLst>
          </p:cNvPr>
          <p:cNvGrpSpPr/>
          <p:nvPr/>
        </p:nvGrpSpPr>
        <p:grpSpPr>
          <a:xfrm>
            <a:off x="812052" y="1421270"/>
            <a:ext cx="10740131" cy="4408949"/>
            <a:chOff x="-902448" y="945020"/>
            <a:chExt cx="10740131" cy="4408949"/>
          </a:xfrm>
        </p:grpSpPr>
        <p:grpSp>
          <p:nvGrpSpPr>
            <p:cNvPr id="2" name="Gruppieren 1"/>
            <p:cNvGrpSpPr/>
            <p:nvPr/>
          </p:nvGrpSpPr>
          <p:grpSpPr>
            <a:xfrm>
              <a:off x="-902448" y="945020"/>
              <a:ext cx="10740131" cy="4408949"/>
              <a:chOff x="352487" y="1164299"/>
              <a:chExt cx="11260484" cy="4645831"/>
            </a:xfrm>
          </p:grpSpPr>
          <p:sp>
            <p:nvSpPr>
              <p:cNvPr id="6" name="Abgerundetes Rechteck 5"/>
              <p:cNvSpPr/>
              <p:nvPr/>
            </p:nvSpPr>
            <p:spPr>
              <a:xfrm>
                <a:off x="6690455" y="1164299"/>
                <a:ext cx="1664095" cy="1425555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" name="Abgerundetes Rechteck 6"/>
              <p:cNvSpPr/>
              <p:nvPr/>
            </p:nvSpPr>
            <p:spPr>
              <a:xfrm>
                <a:off x="3122780" y="4384575"/>
                <a:ext cx="1664095" cy="1425555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" name="Abgerundetes Rechteck 3"/>
              <p:cNvSpPr/>
              <p:nvPr/>
            </p:nvSpPr>
            <p:spPr>
              <a:xfrm>
                <a:off x="2203647" y="3146444"/>
                <a:ext cx="1970788" cy="948478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5" name="Grafik 4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52487" y="1380119"/>
                <a:ext cx="11260484" cy="4333461"/>
              </a:xfrm>
              <a:prstGeom prst="rect">
                <a:avLst/>
              </a:prstGeom>
            </p:spPr>
          </p:pic>
        </p:grp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80B1A8CA-4142-83AF-5589-4922A8415257}"/>
                </a:ext>
              </a:extLst>
            </p:cNvPr>
            <p:cNvSpPr/>
            <p:nvPr/>
          </p:nvSpPr>
          <p:spPr>
            <a:xfrm>
              <a:off x="3416300" y="2476500"/>
              <a:ext cx="1705691" cy="1581150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Drivers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for</a:t>
              </a:r>
              <a:r>
                <a: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change</a:t>
              </a: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37097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757FE7-EE60-20B1-9EE9-748563F35E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7">
            <a:extLst>
              <a:ext uri="{FF2B5EF4-FFF2-40B4-BE49-F238E27FC236}">
                <a16:creationId xmlns:a16="http://schemas.microsoft.com/office/drawing/2014/main" id="{1EA18290-0687-29E4-3437-7802633B587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FCCD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AF9263F-863F-9F65-6855-4ECA0AC09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  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B56D1B6-F501-C614-DADF-F0532751FA62}"/>
              </a:ext>
            </a:extLst>
          </p:cNvPr>
          <p:cNvSpPr txBox="1"/>
          <p:nvPr/>
        </p:nvSpPr>
        <p:spPr>
          <a:xfrm>
            <a:off x="4567626" y="3141888"/>
            <a:ext cx="2687274" cy="961014"/>
          </a:xfrm>
          <a:prstGeom prst="rect">
            <a:avLst/>
          </a:prstGeom>
          <a:solidFill>
            <a:schemeClr val="accent4"/>
          </a:solidFill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HR Digit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ransformation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D242B09-A328-73E2-3613-76B73CD3425C}"/>
              </a:ext>
            </a:extLst>
          </p:cNvPr>
          <p:cNvSpPr txBox="1"/>
          <p:nvPr/>
        </p:nvSpPr>
        <p:spPr>
          <a:xfrm>
            <a:off x="789352" y="1621063"/>
            <a:ext cx="2444557" cy="997050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inance/ Controlling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1DF0FA8-C0FC-7893-F226-7431F489AFB2}"/>
              </a:ext>
            </a:extLst>
          </p:cNvPr>
          <p:cNvSpPr txBox="1"/>
          <p:nvPr/>
        </p:nvSpPr>
        <p:spPr>
          <a:xfrm>
            <a:off x="4910617" y="1868732"/>
            <a:ext cx="1759689" cy="408445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>
            <a:defPPr>
              <a:defRPr lang="de-DE"/>
            </a:defPPr>
            <a:lvl1pPr algn="ctr">
              <a:lnSpc>
                <a:spcPct val="120000"/>
              </a:lnSpc>
              <a:spcBef>
                <a:spcPts val="600"/>
              </a:spcBef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T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6FC3915-F962-D477-37DE-C840FAB20F19}"/>
              </a:ext>
            </a:extLst>
          </p:cNvPr>
          <p:cNvSpPr txBox="1"/>
          <p:nvPr/>
        </p:nvSpPr>
        <p:spPr>
          <a:xfrm>
            <a:off x="7034426" y="1749671"/>
            <a:ext cx="3710737" cy="1073994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>
            <a:defPPr>
              <a:defRPr lang="de-DE"/>
            </a:defPPr>
            <a:lvl1pPr algn="ctr">
              <a:lnSpc>
                <a:spcPct val="120000"/>
              </a:lnSpc>
              <a:spcBef>
                <a:spcPts val="600"/>
              </a:spcBef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anufacturing/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perations</a:t>
            </a:r>
            <a:endParaRPr kumimoji="0" lang="de-DE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2941A6E-4E42-C676-CC3B-633F06B998E2}"/>
              </a:ext>
            </a:extLst>
          </p:cNvPr>
          <p:cNvSpPr txBox="1"/>
          <p:nvPr/>
        </p:nvSpPr>
        <p:spPr>
          <a:xfrm>
            <a:off x="289613" y="3345293"/>
            <a:ext cx="1929307" cy="553851"/>
          </a:xfrm>
          <a:prstGeom prst="rect">
            <a:avLst/>
          </a:prstGeom>
          <a:solidFill>
            <a:srgbClr val="153276"/>
          </a:solidFill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>
            <a:defPPr>
              <a:defRPr lang="de-DE"/>
            </a:defPPr>
            <a:lvl1pPr algn="ctr">
              <a:lnSpc>
                <a:spcPct val="120000"/>
              </a:lnSpc>
              <a:spcBef>
                <a:spcPts val="600"/>
              </a:spcBef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mployee</a:t>
            </a:r>
            <a:endParaRPr kumimoji="0" lang="de-DE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2F29E02-A515-087E-4A03-4F2345917630}"/>
              </a:ext>
            </a:extLst>
          </p:cNvPr>
          <p:cNvSpPr txBox="1"/>
          <p:nvPr/>
        </p:nvSpPr>
        <p:spPr>
          <a:xfrm>
            <a:off x="9719165" y="3405888"/>
            <a:ext cx="1593119" cy="408445"/>
          </a:xfrm>
          <a:prstGeom prst="rect">
            <a:avLst/>
          </a:prstGeom>
          <a:solidFill>
            <a:srgbClr val="3C4C9D"/>
          </a:solidFill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>
            <a:defPPr>
              <a:defRPr lang="de-DE"/>
            </a:defPPr>
            <a:lvl1pPr algn="ctr">
              <a:lnSpc>
                <a:spcPct val="120000"/>
              </a:lnSpc>
              <a:spcBef>
                <a:spcPts val="600"/>
              </a:spcBef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anager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ED644B5-A319-58C8-1178-1927F4EBEC3A}"/>
              </a:ext>
            </a:extLst>
          </p:cNvPr>
          <p:cNvSpPr txBox="1"/>
          <p:nvPr/>
        </p:nvSpPr>
        <p:spPr>
          <a:xfrm>
            <a:off x="1168986" y="4691540"/>
            <a:ext cx="1714997" cy="997050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>
            <a:defPPr>
              <a:defRPr lang="de-DE"/>
            </a:defPPr>
            <a:lvl1pPr algn="ctr">
              <a:lnSpc>
                <a:spcPct val="120000"/>
              </a:lnSpc>
              <a:spcBef>
                <a:spcPts val="600"/>
              </a:spcBef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HR </a:t>
            </a:r>
            <a:r>
              <a:rPr kumimoji="0" lang="de-D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E</a:t>
            </a: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/SM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C4FFA62-F89C-8AB4-6A2C-B13F74575909}"/>
              </a:ext>
            </a:extLst>
          </p:cNvPr>
          <p:cNvSpPr txBox="1"/>
          <p:nvPr/>
        </p:nvSpPr>
        <p:spPr>
          <a:xfrm>
            <a:off x="3393273" y="5237816"/>
            <a:ext cx="1644608" cy="408445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>
            <a:defPPr>
              <a:defRPr lang="de-DE"/>
            </a:defPPr>
            <a:lvl1pPr algn="ctr">
              <a:lnSpc>
                <a:spcPct val="120000"/>
              </a:lnSpc>
              <a:spcBef>
                <a:spcPts val="600"/>
              </a:spcBef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ocal</a:t>
            </a: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HR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FE9269BF-EE87-2F31-FE4B-EA168AD8D97E}"/>
              </a:ext>
            </a:extLst>
          </p:cNvPr>
          <p:cNvSpPr txBox="1"/>
          <p:nvPr/>
        </p:nvSpPr>
        <p:spPr>
          <a:xfrm>
            <a:off x="8138404" y="4796567"/>
            <a:ext cx="2606759" cy="997050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>
            <a:defPPr>
              <a:defRPr lang="de-DE"/>
            </a:defPPr>
            <a:lvl1pPr algn="ctr">
              <a:lnSpc>
                <a:spcPct val="120000"/>
              </a:lnSpc>
              <a:spcBef>
                <a:spcPts val="600"/>
              </a:spcBef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usiness Areas/MD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32CF35B-3CC5-685C-83B5-280EEE3E68FE}"/>
              </a:ext>
            </a:extLst>
          </p:cNvPr>
          <p:cNvSpPr txBox="1"/>
          <p:nvPr/>
        </p:nvSpPr>
        <p:spPr>
          <a:xfrm>
            <a:off x="5504038" y="4983151"/>
            <a:ext cx="1983063" cy="997050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>
            <a:defPPr>
              <a:defRPr lang="de-DE"/>
            </a:defPPr>
            <a:lvl1pPr algn="ctr">
              <a:lnSpc>
                <a:spcPct val="120000"/>
              </a:lnSpc>
              <a:spcBef>
                <a:spcPts val="600"/>
              </a:spcBef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orks Council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7D2E687-D800-4F12-C29E-6B3C355AC943}"/>
              </a:ext>
            </a:extLst>
          </p:cNvPr>
          <p:cNvCxnSpPr>
            <a:cxnSpLocks/>
            <a:stCxn id="5" idx="2"/>
          </p:cNvCxnSpPr>
          <p:nvPr/>
        </p:nvCxnSpPr>
        <p:spPr>
          <a:xfrm>
            <a:off x="2011631" y="2618113"/>
            <a:ext cx="2527862" cy="523775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EF4CAA8C-C1F3-6F3C-C1B3-C004B244E615}"/>
              </a:ext>
            </a:extLst>
          </p:cNvPr>
          <p:cNvCxnSpPr>
            <a:cxnSpLocks/>
            <a:stCxn id="6" idx="2"/>
          </p:cNvCxnSpPr>
          <p:nvPr/>
        </p:nvCxnSpPr>
        <p:spPr>
          <a:xfrm>
            <a:off x="5790462" y="2349880"/>
            <a:ext cx="0" cy="790103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14074177-A5F7-35EC-220E-D952FBF4257C}"/>
              </a:ext>
            </a:extLst>
          </p:cNvPr>
          <p:cNvCxnSpPr>
            <a:cxnSpLocks/>
            <a:stCxn id="7" idx="2"/>
          </p:cNvCxnSpPr>
          <p:nvPr/>
        </p:nvCxnSpPr>
        <p:spPr>
          <a:xfrm flipH="1">
            <a:off x="7254900" y="2823665"/>
            <a:ext cx="1634895" cy="318223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F00AE555-D1BA-E222-5C35-658ED429FE01}"/>
              </a:ext>
            </a:extLst>
          </p:cNvPr>
          <p:cNvCxnSpPr>
            <a:cxnSpLocks/>
            <a:stCxn id="2" idx="3"/>
            <a:endCxn id="9" idx="1"/>
          </p:cNvCxnSpPr>
          <p:nvPr/>
        </p:nvCxnSpPr>
        <p:spPr>
          <a:xfrm flipV="1">
            <a:off x="7254900" y="3610111"/>
            <a:ext cx="2464265" cy="1228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927193E3-1202-4EDC-5A1D-A7F619A3C777}"/>
              </a:ext>
            </a:extLst>
          </p:cNvPr>
          <p:cNvCxnSpPr>
            <a:cxnSpLocks/>
            <a:stCxn id="8" idx="3"/>
            <a:endCxn id="2" idx="1"/>
          </p:cNvCxnSpPr>
          <p:nvPr/>
        </p:nvCxnSpPr>
        <p:spPr>
          <a:xfrm>
            <a:off x="2218920" y="3622219"/>
            <a:ext cx="2348706" cy="176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EA5C3749-5405-60BC-3ECC-83D8430505CB}"/>
              </a:ext>
            </a:extLst>
          </p:cNvPr>
          <p:cNvCxnSpPr>
            <a:cxnSpLocks/>
            <a:stCxn id="10" idx="0"/>
          </p:cNvCxnSpPr>
          <p:nvPr/>
        </p:nvCxnSpPr>
        <p:spPr>
          <a:xfrm flipV="1">
            <a:off x="2026485" y="3956855"/>
            <a:ext cx="2513008" cy="734685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C4BD65AE-4303-0514-9996-28AC999FDE4E}"/>
              </a:ext>
            </a:extLst>
          </p:cNvPr>
          <p:cNvCxnSpPr>
            <a:cxnSpLocks/>
            <a:stCxn id="11" idx="0"/>
            <a:endCxn id="2" idx="2"/>
          </p:cNvCxnSpPr>
          <p:nvPr/>
        </p:nvCxnSpPr>
        <p:spPr>
          <a:xfrm flipV="1">
            <a:off x="4215577" y="4102902"/>
            <a:ext cx="1695686" cy="113491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2335F7B7-0B85-9C6E-9563-E6DCCC6F05C3}"/>
              </a:ext>
            </a:extLst>
          </p:cNvPr>
          <p:cNvCxnSpPr>
            <a:cxnSpLocks/>
          </p:cNvCxnSpPr>
          <p:nvPr/>
        </p:nvCxnSpPr>
        <p:spPr>
          <a:xfrm>
            <a:off x="7250364" y="4102902"/>
            <a:ext cx="1983063" cy="693665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E9B5556-1AC1-131F-C4F0-527D63A19D17}"/>
              </a:ext>
            </a:extLst>
          </p:cNvPr>
          <p:cNvCxnSpPr>
            <a:cxnSpLocks/>
            <a:stCxn id="13" idx="0"/>
            <a:endCxn id="2" idx="2"/>
          </p:cNvCxnSpPr>
          <p:nvPr/>
        </p:nvCxnSpPr>
        <p:spPr>
          <a:xfrm flipH="1" flipV="1">
            <a:off x="5911263" y="4102902"/>
            <a:ext cx="584307" cy="880249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2">
            <a:extLst>
              <a:ext uri="{FF2B5EF4-FFF2-40B4-BE49-F238E27FC236}">
                <a16:creationId xmlns:a16="http://schemas.microsoft.com/office/drawing/2014/main" id="{87994FB3-7AB1-F067-56A0-416EFD4FC516}"/>
              </a:ext>
            </a:extLst>
          </p:cNvPr>
          <p:cNvSpPr txBox="1">
            <a:spLocks/>
          </p:cNvSpPr>
          <p:nvPr/>
        </p:nvSpPr>
        <p:spPr bwMode="gray">
          <a:xfrm>
            <a:off x="1488000" y="372514"/>
            <a:ext cx="9216000" cy="594000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j-ea"/>
                <a:cs typeface="+mj-cs"/>
              </a:rPr>
              <a:t>Stakeholder “Sphere”</a:t>
            </a:r>
          </a:p>
        </p:txBody>
      </p:sp>
    </p:spTree>
    <p:extLst>
      <p:ext uri="{BB962C8B-B14F-4D97-AF65-F5344CB8AC3E}">
        <p14:creationId xmlns:p14="http://schemas.microsoft.com/office/powerpoint/2010/main" val="29190267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9671BF-F946-2916-0FE1-4837D4A5ED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7">
            <a:extLst>
              <a:ext uri="{FF2B5EF4-FFF2-40B4-BE49-F238E27FC236}">
                <a16:creationId xmlns:a16="http://schemas.microsoft.com/office/drawing/2014/main" id="{210C8398-57DE-F928-7794-084AFB9E374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FCCD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A273D9D-F56F-6B74-A8A4-3F10757324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  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6746E07-9179-2148-FF0B-873A22AC9E7D}"/>
              </a:ext>
            </a:extLst>
          </p:cNvPr>
          <p:cNvSpPr txBox="1"/>
          <p:nvPr/>
        </p:nvSpPr>
        <p:spPr>
          <a:xfrm>
            <a:off x="4567626" y="2705952"/>
            <a:ext cx="2687274" cy="961014"/>
          </a:xfrm>
          <a:prstGeom prst="rect">
            <a:avLst/>
          </a:prstGeom>
          <a:solidFill>
            <a:schemeClr val="accent4"/>
          </a:solidFill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HR Digit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ransformation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973AF67-FA06-CEB8-9FC8-9592D4636368}"/>
              </a:ext>
            </a:extLst>
          </p:cNvPr>
          <p:cNvSpPr txBox="1"/>
          <p:nvPr/>
        </p:nvSpPr>
        <p:spPr>
          <a:xfrm>
            <a:off x="789352" y="1185127"/>
            <a:ext cx="2444557" cy="997050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inance/ Controlling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A81E3CD-768E-F83C-293B-AB6D35E14C04}"/>
              </a:ext>
            </a:extLst>
          </p:cNvPr>
          <p:cNvSpPr txBox="1"/>
          <p:nvPr/>
        </p:nvSpPr>
        <p:spPr>
          <a:xfrm>
            <a:off x="4910617" y="1432796"/>
            <a:ext cx="1759689" cy="408445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>
            <a:defPPr>
              <a:defRPr lang="de-DE"/>
            </a:defPPr>
            <a:lvl1pPr algn="ctr">
              <a:lnSpc>
                <a:spcPct val="120000"/>
              </a:lnSpc>
              <a:spcBef>
                <a:spcPts val="600"/>
              </a:spcBef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T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FFC71D5-ADE5-549C-1CEE-4830B7967F31}"/>
              </a:ext>
            </a:extLst>
          </p:cNvPr>
          <p:cNvSpPr txBox="1"/>
          <p:nvPr/>
        </p:nvSpPr>
        <p:spPr>
          <a:xfrm>
            <a:off x="7034426" y="1313735"/>
            <a:ext cx="3710737" cy="1073994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>
            <a:defPPr>
              <a:defRPr lang="de-DE"/>
            </a:defPPr>
            <a:lvl1pPr algn="ctr">
              <a:lnSpc>
                <a:spcPct val="120000"/>
              </a:lnSpc>
              <a:spcBef>
                <a:spcPts val="600"/>
              </a:spcBef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anufacturing/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perations</a:t>
            </a:r>
            <a:endParaRPr kumimoji="0" lang="de-DE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2BB243F-F650-CC87-DC79-C0D5C117E1F6}"/>
              </a:ext>
            </a:extLst>
          </p:cNvPr>
          <p:cNvSpPr txBox="1"/>
          <p:nvPr/>
        </p:nvSpPr>
        <p:spPr>
          <a:xfrm>
            <a:off x="289613" y="2909357"/>
            <a:ext cx="1929307" cy="553851"/>
          </a:xfrm>
          <a:prstGeom prst="rect">
            <a:avLst/>
          </a:prstGeom>
          <a:solidFill>
            <a:srgbClr val="153276"/>
          </a:solidFill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>
            <a:defPPr>
              <a:defRPr lang="de-DE"/>
            </a:defPPr>
            <a:lvl1pPr algn="ctr">
              <a:lnSpc>
                <a:spcPct val="120000"/>
              </a:lnSpc>
              <a:spcBef>
                <a:spcPts val="600"/>
              </a:spcBef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mployee</a:t>
            </a:r>
            <a:endParaRPr kumimoji="0" lang="de-DE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BA850BF-F98F-A078-ECED-100C3BA453F2}"/>
              </a:ext>
            </a:extLst>
          </p:cNvPr>
          <p:cNvSpPr txBox="1"/>
          <p:nvPr/>
        </p:nvSpPr>
        <p:spPr>
          <a:xfrm>
            <a:off x="9719165" y="2969952"/>
            <a:ext cx="1593119" cy="408445"/>
          </a:xfrm>
          <a:prstGeom prst="rect">
            <a:avLst/>
          </a:prstGeom>
          <a:solidFill>
            <a:srgbClr val="3C4C9D"/>
          </a:solidFill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>
            <a:defPPr>
              <a:defRPr lang="de-DE"/>
            </a:defPPr>
            <a:lvl1pPr algn="ctr">
              <a:lnSpc>
                <a:spcPct val="120000"/>
              </a:lnSpc>
              <a:spcBef>
                <a:spcPts val="600"/>
              </a:spcBef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anager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33E0007-D118-F480-E50D-B03FD4C931F9}"/>
              </a:ext>
            </a:extLst>
          </p:cNvPr>
          <p:cNvSpPr txBox="1"/>
          <p:nvPr/>
        </p:nvSpPr>
        <p:spPr>
          <a:xfrm>
            <a:off x="1168986" y="4255604"/>
            <a:ext cx="1714997" cy="997050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>
            <a:defPPr>
              <a:defRPr lang="de-DE"/>
            </a:defPPr>
            <a:lvl1pPr algn="ctr">
              <a:lnSpc>
                <a:spcPct val="120000"/>
              </a:lnSpc>
              <a:spcBef>
                <a:spcPts val="600"/>
              </a:spcBef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HR </a:t>
            </a:r>
            <a:r>
              <a:rPr kumimoji="0" lang="de-D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E</a:t>
            </a: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/SM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71FB399-B887-0E27-35A1-EE627EB475E4}"/>
              </a:ext>
            </a:extLst>
          </p:cNvPr>
          <p:cNvSpPr txBox="1"/>
          <p:nvPr/>
        </p:nvSpPr>
        <p:spPr>
          <a:xfrm>
            <a:off x="3393273" y="4801880"/>
            <a:ext cx="1644608" cy="408445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>
            <a:defPPr>
              <a:defRPr lang="de-DE"/>
            </a:defPPr>
            <a:lvl1pPr algn="ctr">
              <a:lnSpc>
                <a:spcPct val="120000"/>
              </a:lnSpc>
              <a:spcBef>
                <a:spcPts val="600"/>
              </a:spcBef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ocal</a:t>
            </a: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HR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FB33A06-C8F7-FD7F-584D-E831CFD0E653}"/>
              </a:ext>
            </a:extLst>
          </p:cNvPr>
          <p:cNvSpPr txBox="1"/>
          <p:nvPr/>
        </p:nvSpPr>
        <p:spPr>
          <a:xfrm>
            <a:off x="8138404" y="4360631"/>
            <a:ext cx="2606759" cy="997050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>
            <a:defPPr>
              <a:defRPr lang="de-DE"/>
            </a:defPPr>
            <a:lvl1pPr algn="ctr">
              <a:lnSpc>
                <a:spcPct val="120000"/>
              </a:lnSpc>
              <a:spcBef>
                <a:spcPts val="600"/>
              </a:spcBef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usiness Areas/MD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B2FA59E-A3C7-5D4D-7AB1-21CDFF846F75}"/>
              </a:ext>
            </a:extLst>
          </p:cNvPr>
          <p:cNvSpPr txBox="1"/>
          <p:nvPr/>
        </p:nvSpPr>
        <p:spPr>
          <a:xfrm>
            <a:off x="5504038" y="4547215"/>
            <a:ext cx="1983063" cy="997050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>
            <a:defPPr>
              <a:defRPr lang="de-DE"/>
            </a:defPPr>
            <a:lvl1pPr algn="ctr">
              <a:lnSpc>
                <a:spcPct val="120000"/>
              </a:lnSpc>
              <a:spcBef>
                <a:spcPts val="600"/>
              </a:spcBef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orks Council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5A2A279D-A2B0-D5B1-9347-3E36AB96E9F0}"/>
              </a:ext>
            </a:extLst>
          </p:cNvPr>
          <p:cNvCxnSpPr>
            <a:cxnSpLocks/>
            <a:stCxn id="5" idx="2"/>
          </p:cNvCxnSpPr>
          <p:nvPr/>
        </p:nvCxnSpPr>
        <p:spPr>
          <a:xfrm>
            <a:off x="2011631" y="2182177"/>
            <a:ext cx="2527862" cy="523775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4A44CB7B-E732-4A58-ADA5-DD8D5DAF835E}"/>
              </a:ext>
            </a:extLst>
          </p:cNvPr>
          <p:cNvCxnSpPr>
            <a:cxnSpLocks/>
            <a:stCxn id="6" idx="2"/>
          </p:cNvCxnSpPr>
          <p:nvPr/>
        </p:nvCxnSpPr>
        <p:spPr>
          <a:xfrm>
            <a:off x="5790462" y="1913944"/>
            <a:ext cx="0" cy="790103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BBCC2984-7FDD-CEAE-F4B0-D8D73B11AAEA}"/>
              </a:ext>
            </a:extLst>
          </p:cNvPr>
          <p:cNvCxnSpPr>
            <a:cxnSpLocks/>
            <a:stCxn id="7" idx="2"/>
          </p:cNvCxnSpPr>
          <p:nvPr/>
        </p:nvCxnSpPr>
        <p:spPr>
          <a:xfrm flipH="1">
            <a:off x="7254900" y="2387729"/>
            <a:ext cx="1634895" cy="318223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69794F7-AA80-C240-C02F-482C3B891E50}"/>
              </a:ext>
            </a:extLst>
          </p:cNvPr>
          <p:cNvCxnSpPr>
            <a:cxnSpLocks/>
            <a:stCxn id="2" idx="3"/>
            <a:endCxn id="9" idx="1"/>
          </p:cNvCxnSpPr>
          <p:nvPr/>
        </p:nvCxnSpPr>
        <p:spPr>
          <a:xfrm flipV="1">
            <a:off x="7254900" y="3174175"/>
            <a:ext cx="2464265" cy="1228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AE3A177-539E-E29B-0AE8-BBA7A48DD361}"/>
              </a:ext>
            </a:extLst>
          </p:cNvPr>
          <p:cNvCxnSpPr>
            <a:cxnSpLocks/>
            <a:stCxn id="8" idx="3"/>
            <a:endCxn id="2" idx="1"/>
          </p:cNvCxnSpPr>
          <p:nvPr/>
        </p:nvCxnSpPr>
        <p:spPr>
          <a:xfrm>
            <a:off x="2218920" y="3186283"/>
            <a:ext cx="2348706" cy="176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6137CE92-6BFE-5B48-E58D-432EE897FC07}"/>
              </a:ext>
            </a:extLst>
          </p:cNvPr>
          <p:cNvCxnSpPr>
            <a:cxnSpLocks/>
            <a:stCxn id="10" idx="0"/>
          </p:cNvCxnSpPr>
          <p:nvPr/>
        </p:nvCxnSpPr>
        <p:spPr>
          <a:xfrm flipV="1">
            <a:off x="2026485" y="3520919"/>
            <a:ext cx="2513008" cy="734685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6A916B46-14A4-889C-2501-4E2D478B7409}"/>
              </a:ext>
            </a:extLst>
          </p:cNvPr>
          <p:cNvCxnSpPr>
            <a:cxnSpLocks/>
            <a:stCxn id="11" idx="0"/>
            <a:endCxn id="2" idx="2"/>
          </p:cNvCxnSpPr>
          <p:nvPr/>
        </p:nvCxnSpPr>
        <p:spPr>
          <a:xfrm flipV="1">
            <a:off x="4215577" y="3666966"/>
            <a:ext cx="1695686" cy="113491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DD2DB71C-C816-166A-619A-EA8801FD3B89}"/>
              </a:ext>
            </a:extLst>
          </p:cNvPr>
          <p:cNvCxnSpPr>
            <a:cxnSpLocks/>
          </p:cNvCxnSpPr>
          <p:nvPr/>
        </p:nvCxnSpPr>
        <p:spPr>
          <a:xfrm>
            <a:off x="7250364" y="3666966"/>
            <a:ext cx="1983063" cy="693665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A69244AE-C4B5-047C-10F1-D02AC35015C1}"/>
              </a:ext>
            </a:extLst>
          </p:cNvPr>
          <p:cNvCxnSpPr>
            <a:cxnSpLocks/>
            <a:stCxn id="13" idx="0"/>
            <a:endCxn id="2" idx="2"/>
          </p:cNvCxnSpPr>
          <p:nvPr/>
        </p:nvCxnSpPr>
        <p:spPr>
          <a:xfrm flipH="1" flipV="1">
            <a:off x="5911263" y="3666966"/>
            <a:ext cx="584307" cy="880249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AB3030DB-05D6-73F6-49AF-172D2EAF6391}"/>
              </a:ext>
            </a:extLst>
          </p:cNvPr>
          <p:cNvSpPr txBox="1"/>
          <p:nvPr/>
        </p:nvSpPr>
        <p:spPr>
          <a:xfrm>
            <a:off x="1168986" y="5869570"/>
            <a:ext cx="10174141" cy="476541"/>
          </a:xfrm>
          <a:prstGeom prst="rect">
            <a:avLst/>
          </a:prstGeom>
          <a:solidFill>
            <a:srgbClr val="00B0F0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	Purpose? 	</a:t>
            </a:r>
            <a:r>
              <a:rPr kumimoji="0" lang="de-DE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mplications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?		Benefits?</a:t>
            </a:r>
          </a:p>
        </p:txBody>
      </p:sp>
      <p:sp>
        <p:nvSpPr>
          <p:cNvPr id="17" name="Title 2">
            <a:extLst>
              <a:ext uri="{FF2B5EF4-FFF2-40B4-BE49-F238E27FC236}">
                <a16:creationId xmlns:a16="http://schemas.microsoft.com/office/drawing/2014/main" id="{88ABE21A-5E9A-5DEC-5AFE-26F3B2EBFE7B}"/>
              </a:ext>
            </a:extLst>
          </p:cNvPr>
          <p:cNvSpPr txBox="1">
            <a:spLocks/>
          </p:cNvSpPr>
          <p:nvPr/>
        </p:nvSpPr>
        <p:spPr bwMode="gray">
          <a:xfrm>
            <a:off x="1488000" y="372514"/>
            <a:ext cx="9216000" cy="594000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j-ea"/>
                <a:cs typeface="+mj-cs"/>
              </a:rPr>
              <a:t>Stakeholder “Sphere”</a:t>
            </a:r>
          </a:p>
        </p:txBody>
      </p:sp>
    </p:spTree>
    <p:extLst>
      <p:ext uri="{BB962C8B-B14F-4D97-AF65-F5344CB8AC3E}">
        <p14:creationId xmlns:p14="http://schemas.microsoft.com/office/powerpoint/2010/main" val="1653429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38B5B006-FE8D-2CBD-226D-BD86D990BAA7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 bwMode="gray">
          <a:xfrm>
            <a:off x="1943497" y="835025"/>
            <a:ext cx="8208169" cy="5472113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21D2A11E-9E4C-7766-D21E-49676BE445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20BF4BC-CABA-66B5-3D64-229C1648BB9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6040" b="958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7549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1C528A-F022-E617-D83E-E955791C2E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7">
            <a:extLst>
              <a:ext uri="{FF2B5EF4-FFF2-40B4-BE49-F238E27FC236}">
                <a16:creationId xmlns:a16="http://schemas.microsoft.com/office/drawing/2014/main" id="{601A0BB7-3689-7DB2-21FB-D1EAE168CD3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FCCD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FEE1751-C9D4-37C1-D6AA-2A9C0FADE4F6}"/>
              </a:ext>
            </a:extLst>
          </p:cNvPr>
          <p:cNvSpPr txBox="1"/>
          <p:nvPr/>
        </p:nvSpPr>
        <p:spPr>
          <a:xfrm>
            <a:off x="2418080" y="1783080"/>
            <a:ext cx="41104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rbeitskräftemangel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4584422-15C2-6D5D-8EEC-DDA6191656A8}"/>
              </a:ext>
            </a:extLst>
          </p:cNvPr>
          <p:cNvSpPr txBox="1"/>
          <p:nvPr/>
        </p:nvSpPr>
        <p:spPr>
          <a:xfrm rot="5400000">
            <a:off x="7452360" y="2199681"/>
            <a:ext cx="24336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KI-Strategie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1BA8AC8-D555-AB2F-CDD7-21CC4E70FEB5}"/>
              </a:ext>
            </a:extLst>
          </p:cNvPr>
          <p:cNvSpPr txBox="1"/>
          <p:nvPr/>
        </p:nvSpPr>
        <p:spPr>
          <a:xfrm>
            <a:off x="4178186" y="2782669"/>
            <a:ext cx="400622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Kostensenkung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5A65658-415C-24E0-ABF2-879BEF4B77E6}"/>
              </a:ext>
            </a:extLst>
          </p:cNvPr>
          <p:cNvSpPr txBox="1"/>
          <p:nvPr/>
        </p:nvSpPr>
        <p:spPr>
          <a:xfrm>
            <a:off x="909320" y="5613441"/>
            <a:ext cx="240963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ransparenz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4BED4A6-58E3-934A-F637-561E68AA9D2A}"/>
              </a:ext>
            </a:extLst>
          </p:cNvPr>
          <p:cNvSpPr txBox="1"/>
          <p:nvPr/>
        </p:nvSpPr>
        <p:spPr>
          <a:xfrm>
            <a:off x="145465" y="330241"/>
            <a:ext cx="63818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trategische Personalentwicklung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6F9C132-7122-7058-857C-A3F0E36F0622}"/>
              </a:ext>
            </a:extLst>
          </p:cNvPr>
          <p:cNvSpPr txBox="1"/>
          <p:nvPr/>
        </p:nvSpPr>
        <p:spPr>
          <a:xfrm>
            <a:off x="7516545" y="4654829"/>
            <a:ext cx="43925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CB245B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Veränderung der Geschäftsprozesse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0ACDACC-57B0-34E2-A89B-0FFB2BBCEDB7}"/>
              </a:ext>
            </a:extLst>
          </p:cNvPr>
          <p:cNvSpPr txBox="1"/>
          <p:nvPr/>
        </p:nvSpPr>
        <p:spPr>
          <a:xfrm>
            <a:off x="2015354" y="3526396"/>
            <a:ext cx="289053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oduktivität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11C5C96-DB3D-C723-E977-0480E8EE5ED7}"/>
              </a:ext>
            </a:extLst>
          </p:cNvPr>
          <p:cNvSpPr txBox="1"/>
          <p:nvPr/>
        </p:nvSpPr>
        <p:spPr>
          <a:xfrm>
            <a:off x="6984755" y="413141"/>
            <a:ext cx="416171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ffizienzsteigerung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97D9DC7-5276-EB60-70F8-B01E43EC61CD}"/>
              </a:ext>
            </a:extLst>
          </p:cNvPr>
          <p:cNvSpPr txBox="1"/>
          <p:nvPr/>
        </p:nvSpPr>
        <p:spPr>
          <a:xfrm>
            <a:off x="635000" y="4393219"/>
            <a:ext cx="41040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mployee</a:t>
            </a: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Experience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9E904FCA-A22F-5DEC-9DF3-1D73520EECCA}"/>
              </a:ext>
            </a:extLst>
          </p:cNvPr>
          <p:cNvSpPr txBox="1"/>
          <p:nvPr/>
        </p:nvSpPr>
        <p:spPr>
          <a:xfrm>
            <a:off x="6058120" y="5388786"/>
            <a:ext cx="328006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igitale Prozesse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7019056-2E03-98A2-3014-B624EFE5F047}"/>
              </a:ext>
            </a:extLst>
          </p:cNvPr>
          <p:cNvSpPr txBox="1"/>
          <p:nvPr/>
        </p:nvSpPr>
        <p:spPr>
          <a:xfrm>
            <a:off x="4378960" y="1045329"/>
            <a:ext cx="368241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CB245B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essourcenmangel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CB0A40BD-4FD4-432F-10BC-44E64307866E}"/>
              </a:ext>
            </a:extLst>
          </p:cNvPr>
          <p:cNvSpPr txBox="1"/>
          <p:nvPr/>
        </p:nvSpPr>
        <p:spPr>
          <a:xfrm>
            <a:off x="1252433" y="2732474"/>
            <a:ext cx="24913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CB245B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atenschutz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47701D2D-2900-005F-87D4-984FDCC35460}"/>
              </a:ext>
            </a:extLst>
          </p:cNvPr>
          <p:cNvSpPr txBox="1"/>
          <p:nvPr/>
        </p:nvSpPr>
        <p:spPr>
          <a:xfrm>
            <a:off x="9521550" y="5979118"/>
            <a:ext cx="227337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CB245B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Zeitmangel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2E56E5A5-6507-9739-5004-1B6991C5E979}"/>
              </a:ext>
            </a:extLst>
          </p:cNvPr>
          <p:cNvSpPr txBox="1"/>
          <p:nvPr/>
        </p:nvSpPr>
        <p:spPr>
          <a:xfrm>
            <a:off x="8696007" y="3716211"/>
            <a:ext cx="309892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chatten IT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1FED8CA4-0C81-3D0E-C805-537F7AA459BD}"/>
              </a:ext>
            </a:extLst>
          </p:cNvPr>
          <p:cNvSpPr txBox="1"/>
          <p:nvPr/>
        </p:nvSpPr>
        <p:spPr>
          <a:xfrm rot="5400000">
            <a:off x="10331225" y="1271618"/>
            <a:ext cx="2201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CB245B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Keine Datenbasis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E311BF13-BECB-7103-4F80-9AF062BB81DF}"/>
              </a:ext>
            </a:extLst>
          </p:cNvPr>
          <p:cNvSpPr txBox="1"/>
          <p:nvPr/>
        </p:nvSpPr>
        <p:spPr>
          <a:xfrm rot="16200000">
            <a:off x="-1633662" y="3742989"/>
            <a:ext cx="39821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ehlende Nachfolger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56F70946-183D-28F7-DA3D-EF7B461CE4D9}"/>
              </a:ext>
            </a:extLst>
          </p:cNvPr>
          <p:cNvSpPr txBox="1"/>
          <p:nvPr/>
        </p:nvSpPr>
        <p:spPr>
          <a:xfrm>
            <a:off x="2845683" y="6299536"/>
            <a:ext cx="36279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Umbruch in der Geschäftsleitung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4A082FDD-001C-0DD9-E051-CB2F00DFF221}"/>
              </a:ext>
            </a:extLst>
          </p:cNvPr>
          <p:cNvSpPr txBox="1"/>
          <p:nvPr/>
        </p:nvSpPr>
        <p:spPr>
          <a:xfrm>
            <a:off x="909320" y="1178423"/>
            <a:ext cx="218681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achstum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BD0E2E57-A9D9-817A-FD41-6B0FCFD9D8D9}"/>
              </a:ext>
            </a:extLst>
          </p:cNvPr>
          <p:cNvSpPr txBox="1"/>
          <p:nvPr/>
        </p:nvSpPr>
        <p:spPr>
          <a:xfrm>
            <a:off x="5683250" y="3904870"/>
            <a:ext cx="21114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e-</a:t>
            </a:r>
            <a:r>
              <a:rPr kumimoji="0" lang="de-DE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killing</a:t>
            </a: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F2934E0-8268-E8E0-327E-9F9D3A1EA6FB}"/>
              </a:ext>
            </a:extLst>
          </p:cNvPr>
          <p:cNvSpPr txBox="1"/>
          <p:nvPr/>
        </p:nvSpPr>
        <p:spPr>
          <a:xfrm>
            <a:off x="861833" y="2314159"/>
            <a:ext cx="23070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HR Operating Model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5853EB4-B638-CC2F-24C9-96543A115C40}"/>
              </a:ext>
            </a:extLst>
          </p:cNvPr>
          <p:cNvSpPr txBox="1"/>
          <p:nvPr/>
        </p:nvSpPr>
        <p:spPr>
          <a:xfrm>
            <a:off x="9377168" y="2865107"/>
            <a:ext cx="24609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hare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Service Center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D2F3D7A-5294-B463-D2CE-95F742D35A45}"/>
              </a:ext>
            </a:extLst>
          </p:cNvPr>
          <p:cNvSpPr txBox="1"/>
          <p:nvPr/>
        </p:nvSpPr>
        <p:spPr>
          <a:xfrm>
            <a:off x="3508544" y="5066861"/>
            <a:ext cx="18838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eople Analytics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0BD9BAE3-D4E6-4E39-5A27-34970C68EF8F}"/>
              </a:ext>
            </a:extLst>
          </p:cNvPr>
          <p:cNvSpPr txBox="1"/>
          <p:nvPr/>
        </p:nvSpPr>
        <p:spPr>
          <a:xfrm rot="16200000">
            <a:off x="4845049" y="3863709"/>
            <a:ext cx="8162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SG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4F7FF7F3-BF19-124E-0ADD-7C326A16C902}"/>
              </a:ext>
            </a:extLst>
          </p:cNvPr>
          <p:cNvSpPr txBox="1"/>
          <p:nvPr/>
        </p:nvSpPr>
        <p:spPr>
          <a:xfrm>
            <a:off x="7069789" y="2168076"/>
            <a:ext cx="5549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EI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56203C5E-A0C0-BC39-853A-86A7EB1741E8}"/>
              </a:ext>
            </a:extLst>
          </p:cNvPr>
          <p:cNvSpPr txBox="1"/>
          <p:nvPr/>
        </p:nvSpPr>
        <p:spPr>
          <a:xfrm>
            <a:off x="9377168" y="1862524"/>
            <a:ext cx="17366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mploye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Branding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B3AFBB1D-A831-F341-5427-2DFFE3337823}"/>
              </a:ext>
            </a:extLst>
          </p:cNvPr>
          <p:cNvSpPr txBox="1"/>
          <p:nvPr/>
        </p:nvSpPr>
        <p:spPr>
          <a:xfrm>
            <a:off x="9338185" y="5081623"/>
            <a:ext cx="19720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tandardisierung</a:t>
            </a:r>
          </a:p>
        </p:txBody>
      </p:sp>
    </p:spTree>
    <p:extLst>
      <p:ext uri="{BB962C8B-B14F-4D97-AF65-F5344CB8AC3E}">
        <p14:creationId xmlns:p14="http://schemas.microsoft.com/office/powerpoint/2010/main" val="5959052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B1C665-1A99-0BF7-B456-2B6ED3F1D5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17">
            <a:extLst>
              <a:ext uri="{FF2B5EF4-FFF2-40B4-BE49-F238E27FC236}">
                <a16:creationId xmlns:a16="http://schemas.microsoft.com/office/drawing/2014/main" id="{385C2E34-A8D8-4E99-17AD-5E53EEC5032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6BAAEF-2DC2-A1A4-3F38-54633325F5D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22325" y="645176"/>
            <a:ext cx="11160125" cy="4794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Von der Geschäftsstrategie zur HR-IT Roadmap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9626635-9C50-317F-B916-0BB73CFBF627}"/>
              </a:ext>
            </a:extLst>
          </p:cNvPr>
          <p:cNvGrpSpPr/>
          <p:nvPr/>
        </p:nvGrpSpPr>
        <p:grpSpPr>
          <a:xfrm>
            <a:off x="1576388" y="2589788"/>
            <a:ext cx="3508376" cy="2963682"/>
            <a:chOff x="4829352" y="5960757"/>
            <a:chExt cx="6601289" cy="5576404"/>
          </a:xfrm>
        </p:grpSpPr>
        <p:sp>
          <p:nvSpPr>
            <p:cNvPr id="7" name="Shape 48162">
              <a:extLst>
                <a:ext uri="{FF2B5EF4-FFF2-40B4-BE49-F238E27FC236}">
                  <a16:creationId xmlns:a16="http://schemas.microsoft.com/office/drawing/2014/main" id="{22EBE268-DD97-746B-4BBD-E0810CC5A5F4}"/>
                </a:ext>
              </a:extLst>
            </p:cNvPr>
            <p:cNvSpPr/>
            <p:nvPr/>
          </p:nvSpPr>
          <p:spPr>
            <a:xfrm>
              <a:off x="4830760" y="9610978"/>
              <a:ext cx="3301712" cy="19261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9657"/>
                  </a:lnTo>
                  <a:lnTo>
                    <a:pt x="21600" y="21600"/>
                  </a:lnTo>
                  <a:lnTo>
                    <a:pt x="0" y="119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506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8" name="Shape 48163">
              <a:extLst>
                <a:ext uri="{FF2B5EF4-FFF2-40B4-BE49-F238E27FC236}">
                  <a16:creationId xmlns:a16="http://schemas.microsoft.com/office/drawing/2014/main" id="{C0EE016B-9FD0-A161-8C1A-4739FFEE1CEB}"/>
                </a:ext>
              </a:extLst>
            </p:cNvPr>
            <p:cNvSpPr/>
            <p:nvPr/>
          </p:nvSpPr>
          <p:spPr>
            <a:xfrm>
              <a:off x="8128929" y="9610978"/>
              <a:ext cx="3301712" cy="19261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9657"/>
                  </a:lnTo>
                  <a:lnTo>
                    <a:pt x="0" y="21600"/>
                  </a:lnTo>
                  <a:lnTo>
                    <a:pt x="21600" y="11943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8215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00">
                  <a:solidFill>
                    <a:srgbClr val="000000"/>
                  </a:solidFill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590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sp>
          <p:nvSpPr>
            <p:cNvPr id="9" name="Shape 48164">
              <a:extLst>
                <a:ext uri="{FF2B5EF4-FFF2-40B4-BE49-F238E27FC236}">
                  <a16:creationId xmlns:a16="http://schemas.microsoft.com/office/drawing/2014/main" id="{2E36B10C-393E-618C-4E5E-24F7803E3108}"/>
                </a:ext>
              </a:extLst>
            </p:cNvPr>
            <p:cNvSpPr/>
            <p:nvPr/>
          </p:nvSpPr>
          <p:spPr>
            <a:xfrm>
              <a:off x="4829352" y="8924619"/>
              <a:ext cx="6600500" cy="15602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549"/>
                  </a:moveTo>
                  <a:lnTo>
                    <a:pt x="10837" y="0"/>
                  </a:lnTo>
                  <a:lnTo>
                    <a:pt x="21600" y="9530"/>
                  </a:lnTo>
                  <a:lnTo>
                    <a:pt x="10798" y="21600"/>
                  </a:lnTo>
                  <a:lnTo>
                    <a:pt x="0" y="9549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506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0" name="Shape 48165">
              <a:extLst>
                <a:ext uri="{FF2B5EF4-FFF2-40B4-BE49-F238E27FC236}">
                  <a16:creationId xmlns:a16="http://schemas.microsoft.com/office/drawing/2014/main" id="{0F1A6886-EC08-FEC7-D753-1B6098EDDE20}"/>
                </a:ext>
              </a:extLst>
            </p:cNvPr>
            <p:cNvSpPr/>
            <p:nvPr/>
          </p:nvSpPr>
          <p:spPr>
            <a:xfrm>
              <a:off x="5264054" y="7935330"/>
              <a:ext cx="2872263" cy="16756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9657"/>
                  </a:lnTo>
                  <a:lnTo>
                    <a:pt x="21600" y="21600"/>
                  </a:lnTo>
                  <a:lnTo>
                    <a:pt x="0" y="119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506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1" name="Shape 48166">
              <a:extLst>
                <a:ext uri="{FF2B5EF4-FFF2-40B4-BE49-F238E27FC236}">
                  <a16:creationId xmlns:a16="http://schemas.microsoft.com/office/drawing/2014/main" id="{1FC3FEF2-1291-48DA-B6F6-1FB3557147E5}"/>
                </a:ext>
              </a:extLst>
            </p:cNvPr>
            <p:cNvSpPr/>
            <p:nvPr/>
          </p:nvSpPr>
          <p:spPr>
            <a:xfrm>
              <a:off x="8133235" y="7935330"/>
              <a:ext cx="2872263" cy="16756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9657"/>
                  </a:lnTo>
                  <a:lnTo>
                    <a:pt x="0" y="21600"/>
                  </a:lnTo>
                  <a:lnTo>
                    <a:pt x="21600" y="11943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2109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spc="-18">
                  <a:solidFill>
                    <a:srgbClr val="FFFFFF"/>
                  </a:solidFill>
                  <a:latin typeface="Avenir Medium"/>
                  <a:ea typeface="Avenir Medium"/>
                  <a:cs typeface="Avenir Medium"/>
                  <a:sym typeface="Avenir Medium"/>
                </a:defRPr>
              </a:pPr>
              <a:endParaRPr kumimoji="0" sz="2531" b="0" i="0" u="none" strike="noStrike" kern="1200" cap="none" spc="-18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Avenir Medium"/>
              </a:endParaRPr>
            </a:p>
          </p:txBody>
        </p:sp>
        <p:sp>
          <p:nvSpPr>
            <p:cNvPr id="12" name="Shape 48167">
              <a:extLst>
                <a:ext uri="{FF2B5EF4-FFF2-40B4-BE49-F238E27FC236}">
                  <a16:creationId xmlns:a16="http://schemas.microsoft.com/office/drawing/2014/main" id="{B025647D-532C-6A8A-0666-20ED639C0D1F}"/>
                </a:ext>
              </a:extLst>
            </p:cNvPr>
            <p:cNvSpPr/>
            <p:nvPr/>
          </p:nvSpPr>
          <p:spPr>
            <a:xfrm>
              <a:off x="5265263" y="7338245"/>
              <a:ext cx="5738957" cy="13573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583"/>
                  </a:moveTo>
                  <a:lnTo>
                    <a:pt x="10834" y="0"/>
                  </a:lnTo>
                  <a:lnTo>
                    <a:pt x="21600" y="9562"/>
                  </a:lnTo>
                  <a:lnTo>
                    <a:pt x="10794" y="21600"/>
                  </a:lnTo>
                  <a:lnTo>
                    <a:pt x="0" y="9583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8215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00">
                  <a:solidFill>
                    <a:srgbClr val="000000"/>
                  </a:solidFill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590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sp>
          <p:nvSpPr>
            <p:cNvPr id="13" name="Shape 48168">
              <a:extLst>
                <a:ext uri="{FF2B5EF4-FFF2-40B4-BE49-F238E27FC236}">
                  <a16:creationId xmlns:a16="http://schemas.microsoft.com/office/drawing/2014/main" id="{21D0B566-D7A9-EAB1-6BAC-88C126059E80}"/>
                </a:ext>
              </a:extLst>
            </p:cNvPr>
            <p:cNvSpPr/>
            <p:nvPr/>
          </p:nvSpPr>
          <p:spPr>
            <a:xfrm>
              <a:off x="5789350" y="6447629"/>
              <a:ext cx="2342092" cy="13663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9657"/>
                  </a:lnTo>
                  <a:lnTo>
                    <a:pt x="21600" y="21600"/>
                  </a:lnTo>
                  <a:lnTo>
                    <a:pt x="0" y="119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2B5A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506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4" name="Shape 48169">
              <a:extLst>
                <a:ext uri="{FF2B5EF4-FFF2-40B4-BE49-F238E27FC236}">
                  <a16:creationId xmlns:a16="http://schemas.microsoft.com/office/drawing/2014/main" id="{C9C7D7D7-6707-C8BC-46EE-023AC26C33FA}"/>
                </a:ext>
              </a:extLst>
            </p:cNvPr>
            <p:cNvSpPr/>
            <p:nvPr/>
          </p:nvSpPr>
          <p:spPr>
            <a:xfrm>
              <a:off x="8128929" y="6447629"/>
              <a:ext cx="2342092" cy="13663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9657"/>
                  </a:lnTo>
                  <a:lnTo>
                    <a:pt x="0" y="21600"/>
                  </a:lnTo>
                  <a:lnTo>
                    <a:pt x="21600" y="11943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8215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00">
                  <a:solidFill>
                    <a:srgbClr val="000000"/>
                  </a:solidFill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590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sp>
          <p:nvSpPr>
            <p:cNvPr id="15" name="Shape 48170">
              <a:extLst>
                <a:ext uri="{FF2B5EF4-FFF2-40B4-BE49-F238E27FC236}">
                  <a16:creationId xmlns:a16="http://schemas.microsoft.com/office/drawing/2014/main" id="{49DC7370-43F3-6A16-D237-C2FC4B072FA1}"/>
                </a:ext>
              </a:extLst>
            </p:cNvPr>
            <p:cNvSpPr/>
            <p:nvPr/>
          </p:nvSpPr>
          <p:spPr>
            <a:xfrm>
              <a:off x="5788587" y="5960757"/>
              <a:ext cx="4676221" cy="11067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622"/>
                  </a:moveTo>
                  <a:lnTo>
                    <a:pt x="10850" y="0"/>
                  </a:lnTo>
                  <a:lnTo>
                    <a:pt x="21600" y="9553"/>
                  </a:lnTo>
                  <a:lnTo>
                    <a:pt x="10810" y="21600"/>
                  </a:lnTo>
                  <a:lnTo>
                    <a:pt x="0" y="9622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8215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00">
                  <a:solidFill>
                    <a:srgbClr val="000000"/>
                  </a:solidFill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590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48A5CA75-6E70-7D8E-19ED-E8B5A8793ABD}"/>
              </a:ext>
            </a:extLst>
          </p:cNvPr>
          <p:cNvSpPr/>
          <p:nvPr/>
        </p:nvSpPr>
        <p:spPr>
          <a:xfrm>
            <a:off x="5713796" y="2158768"/>
            <a:ext cx="725104" cy="725104"/>
          </a:xfrm>
          <a:prstGeom prst="rect">
            <a:avLst/>
          </a:prstGeom>
          <a:solidFill>
            <a:srgbClr val="18254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9FD44CB-63CF-F4B4-56E3-5CAD72230D27}"/>
              </a:ext>
            </a:extLst>
          </p:cNvPr>
          <p:cNvSpPr/>
          <p:nvPr/>
        </p:nvSpPr>
        <p:spPr>
          <a:xfrm>
            <a:off x="5713794" y="3613150"/>
            <a:ext cx="725104" cy="725104"/>
          </a:xfrm>
          <a:prstGeom prst="rect">
            <a:avLst/>
          </a:prstGeom>
          <a:solidFill>
            <a:srgbClr val="CB245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E6E3726-0033-ED59-D5B7-CC6136534901}"/>
              </a:ext>
            </a:extLst>
          </p:cNvPr>
          <p:cNvSpPr/>
          <p:nvPr/>
        </p:nvSpPr>
        <p:spPr>
          <a:xfrm>
            <a:off x="5713794" y="5067532"/>
            <a:ext cx="725104" cy="725104"/>
          </a:xfrm>
          <a:prstGeom prst="rect">
            <a:avLst/>
          </a:prstGeom>
          <a:solidFill>
            <a:srgbClr val="6FCCD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9" name="Text Placeholder 33">
            <a:extLst>
              <a:ext uri="{FF2B5EF4-FFF2-40B4-BE49-F238E27FC236}">
                <a16:creationId xmlns:a16="http://schemas.microsoft.com/office/drawing/2014/main" id="{1EACC630-3AD9-F0E6-61C0-6424D40616EF}"/>
              </a:ext>
            </a:extLst>
          </p:cNvPr>
          <p:cNvSpPr txBox="1">
            <a:spLocks/>
          </p:cNvSpPr>
          <p:nvPr/>
        </p:nvSpPr>
        <p:spPr>
          <a:xfrm>
            <a:off x="6657791" y="2155824"/>
            <a:ext cx="5361171" cy="72510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HR-IT Roadmap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A1354361-208E-7CDC-E79D-0D853A9D3539}"/>
              </a:ext>
            </a:extLst>
          </p:cNvPr>
          <p:cNvSpPr txBox="1">
            <a:spLocks/>
          </p:cNvSpPr>
          <p:nvPr/>
        </p:nvSpPr>
        <p:spPr>
          <a:xfrm>
            <a:off x="6657792" y="3620060"/>
            <a:ext cx="5361171" cy="72510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HR Strategie</a:t>
            </a:r>
          </a:p>
        </p:txBody>
      </p:sp>
      <p:sp>
        <p:nvSpPr>
          <p:cNvPr id="21" name="Text Placeholder 33">
            <a:extLst>
              <a:ext uri="{FF2B5EF4-FFF2-40B4-BE49-F238E27FC236}">
                <a16:creationId xmlns:a16="http://schemas.microsoft.com/office/drawing/2014/main" id="{77ED7899-9C39-5866-1A51-E2560F8DDF64}"/>
              </a:ext>
            </a:extLst>
          </p:cNvPr>
          <p:cNvSpPr txBox="1">
            <a:spLocks/>
          </p:cNvSpPr>
          <p:nvPr/>
        </p:nvSpPr>
        <p:spPr>
          <a:xfrm>
            <a:off x="6657792" y="5064283"/>
            <a:ext cx="5361171" cy="725104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Geschäftsfelder-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Unternehmensstrategie</a:t>
            </a:r>
          </a:p>
        </p:txBody>
      </p:sp>
    </p:spTree>
    <p:extLst>
      <p:ext uri="{BB962C8B-B14F-4D97-AF65-F5344CB8AC3E}">
        <p14:creationId xmlns:p14="http://schemas.microsoft.com/office/powerpoint/2010/main" val="34698825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E3DB8B-EAED-4396-02FC-A47FB21D5D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17">
            <a:extLst>
              <a:ext uri="{FF2B5EF4-FFF2-40B4-BE49-F238E27FC236}">
                <a16:creationId xmlns:a16="http://schemas.microsoft.com/office/drawing/2014/main" id="{A1CAACA2-64E5-FCE8-0FA4-7E3D7C6071B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B4D0E1-73B1-AAA9-BDD1-3C6F0954A2F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22325" y="645176"/>
            <a:ext cx="11160125" cy="4794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Von der Geschäftsstrategie zur HR-IT Roadmap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D3C7174-AFA8-7840-AA9C-80E29D405323}"/>
              </a:ext>
            </a:extLst>
          </p:cNvPr>
          <p:cNvGrpSpPr/>
          <p:nvPr/>
        </p:nvGrpSpPr>
        <p:grpSpPr>
          <a:xfrm>
            <a:off x="509588" y="2589788"/>
            <a:ext cx="3508376" cy="2963682"/>
            <a:chOff x="4829352" y="5960757"/>
            <a:chExt cx="6601289" cy="5576404"/>
          </a:xfrm>
        </p:grpSpPr>
        <p:sp>
          <p:nvSpPr>
            <p:cNvPr id="7" name="Shape 48162">
              <a:extLst>
                <a:ext uri="{FF2B5EF4-FFF2-40B4-BE49-F238E27FC236}">
                  <a16:creationId xmlns:a16="http://schemas.microsoft.com/office/drawing/2014/main" id="{AE931968-2EC2-782D-05C4-151E60EF19BE}"/>
                </a:ext>
              </a:extLst>
            </p:cNvPr>
            <p:cNvSpPr/>
            <p:nvPr/>
          </p:nvSpPr>
          <p:spPr>
            <a:xfrm>
              <a:off x="4830760" y="9610978"/>
              <a:ext cx="3301712" cy="19261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9657"/>
                  </a:lnTo>
                  <a:lnTo>
                    <a:pt x="21600" y="21600"/>
                  </a:lnTo>
                  <a:lnTo>
                    <a:pt x="0" y="119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506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8" name="Shape 48163">
              <a:extLst>
                <a:ext uri="{FF2B5EF4-FFF2-40B4-BE49-F238E27FC236}">
                  <a16:creationId xmlns:a16="http://schemas.microsoft.com/office/drawing/2014/main" id="{D2633094-0401-D166-3804-39E5B9E4031D}"/>
                </a:ext>
              </a:extLst>
            </p:cNvPr>
            <p:cNvSpPr/>
            <p:nvPr/>
          </p:nvSpPr>
          <p:spPr>
            <a:xfrm>
              <a:off x="8128929" y="9610978"/>
              <a:ext cx="3301712" cy="19261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9657"/>
                  </a:lnTo>
                  <a:lnTo>
                    <a:pt x="0" y="21600"/>
                  </a:lnTo>
                  <a:lnTo>
                    <a:pt x="21600" y="11943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8215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00">
                  <a:solidFill>
                    <a:srgbClr val="000000"/>
                  </a:solidFill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590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sp>
          <p:nvSpPr>
            <p:cNvPr id="9" name="Shape 48164">
              <a:extLst>
                <a:ext uri="{FF2B5EF4-FFF2-40B4-BE49-F238E27FC236}">
                  <a16:creationId xmlns:a16="http://schemas.microsoft.com/office/drawing/2014/main" id="{34F5414D-C7E3-BE48-059C-75A2EC9583FB}"/>
                </a:ext>
              </a:extLst>
            </p:cNvPr>
            <p:cNvSpPr/>
            <p:nvPr/>
          </p:nvSpPr>
          <p:spPr>
            <a:xfrm>
              <a:off x="4829352" y="8924619"/>
              <a:ext cx="6600500" cy="15602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549"/>
                  </a:moveTo>
                  <a:lnTo>
                    <a:pt x="10837" y="0"/>
                  </a:lnTo>
                  <a:lnTo>
                    <a:pt x="21600" y="9530"/>
                  </a:lnTo>
                  <a:lnTo>
                    <a:pt x="10798" y="21600"/>
                  </a:lnTo>
                  <a:lnTo>
                    <a:pt x="0" y="9549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506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0" name="Shape 48165">
              <a:extLst>
                <a:ext uri="{FF2B5EF4-FFF2-40B4-BE49-F238E27FC236}">
                  <a16:creationId xmlns:a16="http://schemas.microsoft.com/office/drawing/2014/main" id="{4078D9ED-A4CB-45FC-451D-2F7363EB5691}"/>
                </a:ext>
              </a:extLst>
            </p:cNvPr>
            <p:cNvSpPr/>
            <p:nvPr/>
          </p:nvSpPr>
          <p:spPr>
            <a:xfrm>
              <a:off x="5264054" y="7935330"/>
              <a:ext cx="2872263" cy="16756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9657"/>
                  </a:lnTo>
                  <a:lnTo>
                    <a:pt x="21600" y="21600"/>
                  </a:lnTo>
                  <a:lnTo>
                    <a:pt x="0" y="119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506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1" name="Shape 48166">
              <a:extLst>
                <a:ext uri="{FF2B5EF4-FFF2-40B4-BE49-F238E27FC236}">
                  <a16:creationId xmlns:a16="http://schemas.microsoft.com/office/drawing/2014/main" id="{1FB5D424-23FB-8A98-CEFF-7CEF0F398690}"/>
                </a:ext>
              </a:extLst>
            </p:cNvPr>
            <p:cNvSpPr/>
            <p:nvPr/>
          </p:nvSpPr>
          <p:spPr>
            <a:xfrm>
              <a:off x="8133235" y="7935330"/>
              <a:ext cx="2872263" cy="16756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9657"/>
                  </a:lnTo>
                  <a:lnTo>
                    <a:pt x="0" y="21600"/>
                  </a:lnTo>
                  <a:lnTo>
                    <a:pt x="21600" y="11943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2109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spc="-18">
                  <a:solidFill>
                    <a:srgbClr val="FFFFFF"/>
                  </a:solidFill>
                  <a:latin typeface="Avenir Medium"/>
                  <a:ea typeface="Avenir Medium"/>
                  <a:cs typeface="Avenir Medium"/>
                  <a:sym typeface="Avenir Medium"/>
                </a:defRPr>
              </a:pPr>
              <a:endParaRPr kumimoji="0" sz="2531" b="0" i="0" u="none" strike="noStrike" kern="1200" cap="none" spc="-18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Avenir Medium"/>
              </a:endParaRPr>
            </a:p>
          </p:txBody>
        </p:sp>
        <p:sp>
          <p:nvSpPr>
            <p:cNvPr id="12" name="Shape 48167">
              <a:extLst>
                <a:ext uri="{FF2B5EF4-FFF2-40B4-BE49-F238E27FC236}">
                  <a16:creationId xmlns:a16="http://schemas.microsoft.com/office/drawing/2014/main" id="{B4C69A7B-CBA9-9AAB-1142-368AD3251DAD}"/>
                </a:ext>
              </a:extLst>
            </p:cNvPr>
            <p:cNvSpPr/>
            <p:nvPr/>
          </p:nvSpPr>
          <p:spPr>
            <a:xfrm>
              <a:off x="5265263" y="7338245"/>
              <a:ext cx="5738957" cy="13573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583"/>
                  </a:moveTo>
                  <a:lnTo>
                    <a:pt x="10834" y="0"/>
                  </a:lnTo>
                  <a:lnTo>
                    <a:pt x="21600" y="9562"/>
                  </a:lnTo>
                  <a:lnTo>
                    <a:pt x="10794" y="21600"/>
                  </a:lnTo>
                  <a:lnTo>
                    <a:pt x="0" y="9583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8215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00">
                  <a:solidFill>
                    <a:srgbClr val="000000"/>
                  </a:solidFill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590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sp>
          <p:nvSpPr>
            <p:cNvPr id="13" name="Shape 48168">
              <a:extLst>
                <a:ext uri="{FF2B5EF4-FFF2-40B4-BE49-F238E27FC236}">
                  <a16:creationId xmlns:a16="http://schemas.microsoft.com/office/drawing/2014/main" id="{02EC33FC-68CC-A213-9E73-DE1A3F9730C3}"/>
                </a:ext>
              </a:extLst>
            </p:cNvPr>
            <p:cNvSpPr/>
            <p:nvPr/>
          </p:nvSpPr>
          <p:spPr>
            <a:xfrm>
              <a:off x="5789350" y="6447629"/>
              <a:ext cx="2342092" cy="13663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9657"/>
                  </a:lnTo>
                  <a:lnTo>
                    <a:pt x="21600" y="21600"/>
                  </a:lnTo>
                  <a:lnTo>
                    <a:pt x="0" y="119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2B5A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506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4" name="Shape 48169">
              <a:extLst>
                <a:ext uri="{FF2B5EF4-FFF2-40B4-BE49-F238E27FC236}">
                  <a16:creationId xmlns:a16="http://schemas.microsoft.com/office/drawing/2014/main" id="{8AE1ADC8-87BE-B346-4F4E-E9A3D43282A8}"/>
                </a:ext>
              </a:extLst>
            </p:cNvPr>
            <p:cNvSpPr/>
            <p:nvPr/>
          </p:nvSpPr>
          <p:spPr>
            <a:xfrm>
              <a:off x="8128929" y="6447629"/>
              <a:ext cx="2342092" cy="13663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9657"/>
                  </a:lnTo>
                  <a:lnTo>
                    <a:pt x="0" y="21600"/>
                  </a:lnTo>
                  <a:lnTo>
                    <a:pt x="21600" y="11943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8215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00">
                  <a:solidFill>
                    <a:srgbClr val="000000"/>
                  </a:solidFill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590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sp>
          <p:nvSpPr>
            <p:cNvPr id="15" name="Shape 48170">
              <a:extLst>
                <a:ext uri="{FF2B5EF4-FFF2-40B4-BE49-F238E27FC236}">
                  <a16:creationId xmlns:a16="http://schemas.microsoft.com/office/drawing/2014/main" id="{CA58B9E6-8F7D-CE6C-2031-439490FD9764}"/>
                </a:ext>
              </a:extLst>
            </p:cNvPr>
            <p:cNvSpPr/>
            <p:nvPr/>
          </p:nvSpPr>
          <p:spPr>
            <a:xfrm>
              <a:off x="5788587" y="5960757"/>
              <a:ext cx="4676221" cy="11067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622"/>
                  </a:moveTo>
                  <a:lnTo>
                    <a:pt x="10850" y="0"/>
                  </a:lnTo>
                  <a:lnTo>
                    <a:pt x="21600" y="9553"/>
                  </a:lnTo>
                  <a:lnTo>
                    <a:pt x="10810" y="21600"/>
                  </a:lnTo>
                  <a:lnTo>
                    <a:pt x="0" y="9622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8215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00">
                  <a:solidFill>
                    <a:srgbClr val="000000"/>
                  </a:solidFill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590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1BE383CD-C2E5-5272-FDA5-0D99C7AAA522}"/>
              </a:ext>
            </a:extLst>
          </p:cNvPr>
          <p:cNvSpPr/>
          <p:nvPr/>
        </p:nvSpPr>
        <p:spPr>
          <a:xfrm>
            <a:off x="4646996" y="2158768"/>
            <a:ext cx="725104" cy="725104"/>
          </a:xfrm>
          <a:prstGeom prst="rect">
            <a:avLst/>
          </a:prstGeom>
          <a:solidFill>
            <a:srgbClr val="18254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6654677-74C7-C3F2-35BF-AE0CC9D0BBD2}"/>
              </a:ext>
            </a:extLst>
          </p:cNvPr>
          <p:cNvSpPr/>
          <p:nvPr/>
        </p:nvSpPr>
        <p:spPr>
          <a:xfrm>
            <a:off x="4646994" y="3613150"/>
            <a:ext cx="725104" cy="725104"/>
          </a:xfrm>
          <a:prstGeom prst="rect">
            <a:avLst/>
          </a:prstGeom>
          <a:solidFill>
            <a:srgbClr val="CB245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7C531A-8EF7-D0FD-6A5A-7DE66865AC04}"/>
              </a:ext>
            </a:extLst>
          </p:cNvPr>
          <p:cNvSpPr/>
          <p:nvPr/>
        </p:nvSpPr>
        <p:spPr>
          <a:xfrm>
            <a:off x="4646994" y="5067532"/>
            <a:ext cx="725104" cy="725104"/>
          </a:xfrm>
          <a:prstGeom prst="rect">
            <a:avLst/>
          </a:prstGeom>
          <a:solidFill>
            <a:srgbClr val="6FCCD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9" name="Text Placeholder 33">
            <a:extLst>
              <a:ext uri="{FF2B5EF4-FFF2-40B4-BE49-F238E27FC236}">
                <a16:creationId xmlns:a16="http://schemas.microsoft.com/office/drawing/2014/main" id="{6C647CC2-0BF9-9FE6-E86B-52A2F81E9F4B}"/>
              </a:ext>
            </a:extLst>
          </p:cNvPr>
          <p:cNvSpPr txBox="1">
            <a:spLocks/>
          </p:cNvSpPr>
          <p:nvPr/>
        </p:nvSpPr>
        <p:spPr>
          <a:xfrm>
            <a:off x="5597341" y="2155824"/>
            <a:ext cx="5361171" cy="725104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HR-IT Roadmap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2E6211E0-0BB3-74BD-2423-2F4A6629DFF6}"/>
              </a:ext>
            </a:extLst>
          </p:cNvPr>
          <p:cNvSpPr txBox="1">
            <a:spLocks/>
          </p:cNvSpPr>
          <p:nvPr/>
        </p:nvSpPr>
        <p:spPr>
          <a:xfrm>
            <a:off x="5597342" y="3620060"/>
            <a:ext cx="5361171" cy="725104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HR Strategie</a:t>
            </a:r>
          </a:p>
        </p:txBody>
      </p:sp>
      <p:sp>
        <p:nvSpPr>
          <p:cNvPr id="21" name="Text Placeholder 33">
            <a:extLst>
              <a:ext uri="{FF2B5EF4-FFF2-40B4-BE49-F238E27FC236}">
                <a16:creationId xmlns:a16="http://schemas.microsoft.com/office/drawing/2014/main" id="{68347964-B65D-12AF-4E06-A15A0B354369}"/>
              </a:ext>
            </a:extLst>
          </p:cNvPr>
          <p:cNvSpPr txBox="1">
            <a:spLocks/>
          </p:cNvSpPr>
          <p:nvPr/>
        </p:nvSpPr>
        <p:spPr>
          <a:xfrm>
            <a:off x="5597342" y="5064283"/>
            <a:ext cx="5361171" cy="725104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Geschäftsfelder-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Unternehmensstrategie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4544D5D-1E4E-A64B-2DA7-F590599D014D}"/>
              </a:ext>
            </a:extLst>
          </p:cNvPr>
          <p:cNvSpPr txBox="1"/>
          <p:nvPr/>
        </p:nvSpPr>
        <p:spPr>
          <a:xfrm>
            <a:off x="8394700" y="4994219"/>
            <a:ext cx="37973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elche Ergebnisse will das Unternehmen / der Geschäftsbereich erreichen?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E1941318-578D-2218-BC58-59043E01A69A}"/>
              </a:ext>
            </a:extLst>
          </p:cNvPr>
          <p:cNvSpPr txBox="1"/>
          <p:nvPr/>
        </p:nvSpPr>
        <p:spPr>
          <a:xfrm>
            <a:off x="8313737" y="3520947"/>
            <a:ext cx="37973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elche Maßnahmen unternimmt HR um diese Ziele zu erreichen?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A832D917-052C-5556-F66E-7998F1A6772C}"/>
              </a:ext>
            </a:extLst>
          </p:cNvPr>
          <p:cNvSpPr txBox="1"/>
          <p:nvPr/>
        </p:nvSpPr>
        <p:spPr>
          <a:xfrm>
            <a:off x="8394700" y="1997164"/>
            <a:ext cx="37973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ie muss die zugrundeliegende HR-I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afür aussehen?</a:t>
            </a:r>
          </a:p>
        </p:txBody>
      </p:sp>
    </p:spTree>
    <p:extLst>
      <p:ext uri="{BB962C8B-B14F-4D97-AF65-F5344CB8AC3E}">
        <p14:creationId xmlns:p14="http://schemas.microsoft.com/office/powerpoint/2010/main" val="13925819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4FB98F-0650-1250-2742-4878EC0A1B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17">
            <a:extLst>
              <a:ext uri="{FF2B5EF4-FFF2-40B4-BE49-F238E27FC236}">
                <a16:creationId xmlns:a16="http://schemas.microsoft.com/office/drawing/2014/main" id="{8C0C3525-58C1-15AF-8C3F-CBC3592B848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B7BCA57-E85C-3783-50DE-1D1FFE2589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22325" y="645176"/>
            <a:ext cx="11160125" cy="4794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Von der Geschäftsstrategie zur HR-IT Roadmap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42FF2C6-153A-EF48-5722-878E3D1DB8EF}"/>
              </a:ext>
            </a:extLst>
          </p:cNvPr>
          <p:cNvGrpSpPr/>
          <p:nvPr/>
        </p:nvGrpSpPr>
        <p:grpSpPr>
          <a:xfrm>
            <a:off x="509588" y="2589788"/>
            <a:ext cx="3508376" cy="2963682"/>
            <a:chOff x="4829352" y="5960757"/>
            <a:chExt cx="6601289" cy="5576404"/>
          </a:xfrm>
        </p:grpSpPr>
        <p:sp>
          <p:nvSpPr>
            <p:cNvPr id="7" name="Shape 48162">
              <a:extLst>
                <a:ext uri="{FF2B5EF4-FFF2-40B4-BE49-F238E27FC236}">
                  <a16:creationId xmlns:a16="http://schemas.microsoft.com/office/drawing/2014/main" id="{47EB1789-42CD-5F9C-CF12-25C1720317B2}"/>
                </a:ext>
              </a:extLst>
            </p:cNvPr>
            <p:cNvSpPr/>
            <p:nvPr/>
          </p:nvSpPr>
          <p:spPr>
            <a:xfrm>
              <a:off x="4830760" y="9610978"/>
              <a:ext cx="3301712" cy="19261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9657"/>
                  </a:lnTo>
                  <a:lnTo>
                    <a:pt x="21600" y="21600"/>
                  </a:lnTo>
                  <a:lnTo>
                    <a:pt x="0" y="119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506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8" name="Shape 48163">
              <a:extLst>
                <a:ext uri="{FF2B5EF4-FFF2-40B4-BE49-F238E27FC236}">
                  <a16:creationId xmlns:a16="http://schemas.microsoft.com/office/drawing/2014/main" id="{1C947EA6-3EBF-6034-AA99-694A6CE1D5D6}"/>
                </a:ext>
              </a:extLst>
            </p:cNvPr>
            <p:cNvSpPr/>
            <p:nvPr/>
          </p:nvSpPr>
          <p:spPr>
            <a:xfrm>
              <a:off x="8128929" y="9610978"/>
              <a:ext cx="3301712" cy="19261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9657"/>
                  </a:lnTo>
                  <a:lnTo>
                    <a:pt x="0" y="21600"/>
                  </a:lnTo>
                  <a:lnTo>
                    <a:pt x="21600" y="11943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8215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00">
                  <a:solidFill>
                    <a:srgbClr val="000000"/>
                  </a:solidFill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590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sp>
          <p:nvSpPr>
            <p:cNvPr id="9" name="Shape 48164">
              <a:extLst>
                <a:ext uri="{FF2B5EF4-FFF2-40B4-BE49-F238E27FC236}">
                  <a16:creationId xmlns:a16="http://schemas.microsoft.com/office/drawing/2014/main" id="{FAAE058A-8906-0616-1156-05278194900A}"/>
                </a:ext>
              </a:extLst>
            </p:cNvPr>
            <p:cNvSpPr/>
            <p:nvPr/>
          </p:nvSpPr>
          <p:spPr>
            <a:xfrm>
              <a:off x="4829352" y="8924619"/>
              <a:ext cx="6600500" cy="15602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549"/>
                  </a:moveTo>
                  <a:lnTo>
                    <a:pt x="10837" y="0"/>
                  </a:lnTo>
                  <a:lnTo>
                    <a:pt x="21600" y="9530"/>
                  </a:lnTo>
                  <a:lnTo>
                    <a:pt x="10798" y="21600"/>
                  </a:lnTo>
                  <a:lnTo>
                    <a:pt x="0" y="9549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506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0" name="Shape 48165">
              <a:extLst>
                <a:ext uri="{FF2B5EF4-FFF2-40B4-BE49-F238E27FC236}">
                  <a16:creationId xmlns:a16="http://schemas.microsoft.com/office/drawing/2014/main" id="{B131A57D-1D5F-1424-2375-029185B479B4}"/>
                </a:ext>
              </a:extLst>
            </p:cNvPr>
            <p:cNvSpPr/>
            <p:nvPr/>
          </p:nvSpPr>
          <p:spPr>
            <a:xfrm>
              <a:off x="5264054" y="7935330"/>
              <a:ext cx="2872263" cy="16756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9657"/>
                  </a:lnTo>
                  <a:lnTo>
                    <a:pt x="21600" y="21600"/>
                  </a:lnTo>
                  <a:lnTo>
                    <a:pt x="0" y="119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506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1" name="Shape 48166">
              <a:extLst>
                <a:ext uri="{FF2B5EF4-FFF2-40B4-BE49-F238E27FC236}">
                  <a16:creationId xmlns:a16="http://schemas.microsoft.com/office/drawing/2014/main" id="{5E2EB440-6908-21B8-C6A4-9E9DDEC79B76}"/>
                </a:ext>
              </a:extLst>
            </p:cNvPr>
            <p:cNvSpPr/>
            <p:nvPr/>
          </p:nvSpPr>
          <p:spPr>
            <a:xfrm>
              <a:off x="8133235" y="7935330"/>
              <a:ext cx="2872263" cy="16756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9657"/>
                  </a:lnTo>
                  <a:lnTo>
                    <a:pt x="0" y="21600"/>
                  </a:lnTo>
                  <a:lnTo>
                    <a:pt x="21600" y="11943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2109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spc="-18">
                  <a:solidFill>
                    <a:srgbClr val="FFFFFF"/>
                  </a:solidFill>
                  <a:latin typeface="Avenir Medium"/>
                  <a:ea typeface="Avenir Medium"/>
                  <a:cs typeface="Avenir Medium"/>
                  <a:sym typeface="Avenir Medium"/>
                </a:defRPr>
              </a:pPr>
              <a:endParaRPr kumimoji="0" sz="2531" b="0" i="0" u="none" strike="noStrike" kern="1200" cap="none" spc="-18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Avenir Medium"/>
              </a:endParaRPr>
            </a:p>
          </p:txBody>
        </p:sp>
        <p:sp>
          <p:nvSpPr>
            <p:cNvPr id="12" name="Shape 48167">
              <a:extLst>
                <a:ext uri="{FF2B5EF4-FFF2-40B4-BE49-F238E27FC236}">
                  <a16:creationId xmlns:a16="http://schemas.microsoft.com/office/drawing/2014/main" id="{7BF05C09-10E5-AAB5-7CD8-5AF5CFBD4FED}"/>
                </a:ext>
              </a:extLst>
            </p:cNvPr>
            <p:cNvSpPr/>
            <p:nvPr/>
          </p:nvSpPr>
          <p:spPr>
            <a:xfrm>
              <a:off x="5265263" y="7338245"/>
              <a:ext cx="5738957" cy="13573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583"/>
                  </a:moveTo>
                  <a:lnTo>
                    <a:pt x="10834" y="0"/>
                  </a:lnTo>
                  <a:lnTo>
                    <a:pt x="21600" y="9562"/>
                  </a:lnTo>
                  <a:lnTo>
                    <a:pt x="10794" y="21600"/>
                  </a:lnTo>
                  <a:lnTo>
                    <a:pt x="0" y="9583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8215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00">
                  <a:solidFill>
                    <a:srgbClr val="000000"/>
                  </a:solidFill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590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sp>
          <p:nvSpPr>
            <p:cNvPr id="13" name="Shape 48168">
              <a:extLst>
                <a:ext uri="{FF2B5EF4-FFF2-40B4-BE49-F238E27FC236}">
                  <a16:creationId xmlns:a16="http://schemas.microsoft.com/office/drawing/2014/main" id="{2E8A7AAD-CE4D-F352-CC27-4DA5DB25E8BC}"/>
                </a:ext>
              </a:extLst>
            </p:cNvPr>
            <p:cNvSpPr/>
            <p:nvPr/>
          </p:nvSpPr>
          <p:spPr>
            <a:xfrm>
              <a:off x="5789350" y="6447629"/>
              <a:ext cx="2342092" cy="13663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9657"/>
                  </a:lnTo>
                  <a:lnTo>
                    <a:pt x="21600" y="21600"/>
                  </a:lnTo>
                  <a:lnTo>
                    <a:pt x="0" y="119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2B5A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506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4" name="Shape 48169">
              <a:extLst>
                <a:ext uri="{FF2B5EF4-FFF2-40B4-BE49-F238E27FC236}">
                  <a16:creationId xmlns:a16="http://schemas.microsoft.com/office/drawing/2014/main" id="{42D061E8-49A2-7E54-8987-7D0B3E3404CA}"/>
                </a:ext>
              </a:extLst>
            </p:cNvPr>
            <p:cNvSpPr/>
            <p:nvPr/>
          </p:nvSpPr>
          <p:spPr>
            <a:xfrm>
              <a:off x="8128929" y="6447629"/>
              <a:ext cx="2342092" cy="13663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9657"/>
                  </a:lnTo>
                  <a:lnTo>
                    <a:pt x="0" y="21600"/>
                  </a:lnTo>
                  <a:lnTo>
                    <a:pt x="21600" y="11943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8215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00">
                  <a:solidFill>
                    <a:srgbClr val="000000"/>
                  </a:solidFill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590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sp>
          <p:nvSpPr>
            <p:cNvPr id="15" name="Shape 48170">
              <a:extLst>
                <a:ext uri="{FF2B5EF4-FFF2-40B4-BE49-F238E27FC236}">
                  <a16:creationId xmlns:a16="http://schemas.microsoft.com/office/drawing/2014/main" id="{B38DAF08-A186-2FF3-F9EC-51E847917B26}"/>
                </a:ext>
              </a:extLst>
            </p:cNvPr>
            <p:cNvSpPr/>
            <p:nvPr/>
          </p:nvSpPr>
          <p:spPr>
            <a:xfrm>
              <a:off x="5788587" y="5960757"/>
              <a:ext cx="4676221" cy="11067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622"/>
                  </a:moveTo>
                  <a:lnTo>
                    <a:pt x="10850" y="0"/>
                  </a:lnTo>
                  <a:lnTo>
                    <a:pt x="21600" y="9553"/>
                  </a:lnTo>
                  <a:lnTo>
                    <a:pt x="10810" y="21600"/>
                  </a:lnTo>
                  <a:lnTo>
                    <a:pt x="0" y="9622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8215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00">
                  <a:solidFill>
                    <a:srgbClr val="000000"/>
                  </a:solidFill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590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F08FC1EE-980D-9E6C-DCBC-C3D939D6B02D}"/>
              </a:ext>
            </a:extLst>
          </p:cNvPr>
          <p:cNvSpPr/>
          <p:nvPr/>
        </p:nvSpPr>
        <p:spPr>
          <a:xfrm>
            <a:off x="4646996" y="2158768"/>
            <a:ext cx="725104" cy="725104"/>
          </a:xfrm>
          <a:prstGeom prst="rect">
            <a:avLst/>
          </a:prstGeom>
          <a:solidFill>
            <a:srgbClr val="18254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CEF7ED-EEB7-F414-72C2-6E05C3A1C509}"/>
              </a:ext>
            </a:extLst>
          </p:cNvPr>
          <p:cNvSpPr/>
          <p:nvPr/>
        </p:nvSpPr>
        <p:spPr>
          <a:xfrm>
            <a:off x="4646994" y="3613150"/>
            <a:ext cx="725104" cy="725104"/>
          </a:xfrm>
          <a:prstGeom prst="rect">
            <a:avLst/>
          </a:prstGeom>
          <a:solidFill>
            <a:srgbClr val="CB245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CB85F2D-42AE-4AB6-957C-A3567569C1C3}"/>
              </a:ext>
            </a:extLst>
          </p:cNvPr>
          <p:cNvSpPr/>
          <p:nvPr/>
        </p:nvSpPr>
        <p:spPr>
          <a:xfrm>
            <a:off x="4646994" y="5067532"/>
            <a:ext cx="725104" cy="725104"/>
          </a:xfrm>
          <a:prstGeom prst="rect">
            <a:avLst/>
          </a:prstGeom>
          <a:solidFill>
            <a:srgbClr val="6FCCD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9" name="Text Placeholder 33">
            <a:extLst>
              <a:ext uri="{FF2B5EF4-FFF2-40B4-BE49-F238E27FC236}">
                <a16:creationId xmlns:a16="http://schemas.microsoft.com/office/drawing/2014/main" id="{0064163E-C80C-C359-AF74-5E60E851DBF4}"/>
              </a:ext>
            </a:extLst>
          </p:cNvPr>
          <p:cNvSpPr txBox="1">
            <a:spLocks/>
          </p:cNvSpPr>
          <p:nvPr/>
        </p:nvSpPr>
        <p:spPr>
          <a:xfrm>
            <a:off x="5597341" y="2155824"/>
            <a:ext cx="5361171" cy="725104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ransformationsinitiativen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09076C6D-FF33-1982-CAF3-058F17DCD431}"/>
              </a:ext>
            </a:extLst>
          </p:cNvPr>
          <p:cNvSpPr txBox="1">
            <a:spLocks/>
          </p:cNvSpPr>
          <p:nvPr/>
        </p:nvSpPr>
        <p:spPr>
          <a:xfrm>
            <a:off x="5597342" y="3620060"/>
            <a:ext cx="5361171" cy="725104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echnologieoptionen</a:t>
            </a:r>
          </a:p>
        </p:txBody>
      </p:sp>
      <p:sp>
        <p:nvSpPr>
          <p:cNvPr id="21" name="Text Placeholder 33">
            <a:extLst>
              <a:ext uri="{FF2B5EF4-FFF2-40B4-BE49-F238E27FC236}">
                <a16:creationId xmlns:a16="http://schemas.microsoft.com/office/drawing/2014/main" id="{EEE149E9-B5C7-61F8-45D5-A8889CB2B426}"/>
              </a:ext>
            </a:extLst>
          </p:cNvPr>
          <p:cNvSpPr txBox="1">
            <a:spLocks/>
          </p:cNvSpPr>
          <p:nvPr/>
        </p:nvSpPr>
        <p:spPr>
          <a:xfrm>
            <a:off x="5597342" y="5064283"/>
            <a:ext cx="5361171" cy="725104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Vision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FF35B4E-BBEC-C506-FC04-327E90434B83}"/>
              </a:ext>
            </a:extLst>
          </p:cNvPr>
          <p:cNvSpPr txBox="1"/>
          <p:nvPr/>
        </p:nvSpPr>
        <p:spPr>
          <a:xfrm>
            <a:off x="8216900" y="4826670"/>
            <a:ext cx="37973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ine gemeinsame Vision aller Stakeholder die Geschäftsergebnisse mit HR-IT Technologie verknüpft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8DE55A3E-4F72-DBEC-0E15-B3250B92EB6F}"/>
              </a:ext>
            </a:extLst>
          </p:cNvPr>
          <p:cNvSpPr txBox="1"/>
          <p:nvPr/>
        </p:nvSpPr>
        <p:spPr>
          <a:xfrm>
            <a:off x="8174457" y="3510940"/>
            <a:ext cx="37973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ktueller Stand und Möglichkeiten mit Vision abgleichen und entwickeln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2545C335-415F-1F6F-68FE-0A813D30969B}"/>
              </a:ext>
            </a:extLst>
          </p:cNvPr>
          <p:cNvSpPr txBox="1"/>
          <p:nvPr/>
        </p:nvSpPr>
        <p:spPr>
          <a:xfrm>
            <a:off x="8216900" y="2056711"/>
            <a:ext cx="37973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as Richtige zum richtigen Zeitpunkt mit den richtigen Initiativen ermöglichen</a:t>
            </a:r>
          </a:p>
        </p:txBody>
      </p:sp>
    </p:spTree>
    <p:extLst>
      <p:ext uri="{BB962C8B-B14F-4D97-AF65-F5344CB8AC3E}">
        <p14:creationId xmlns:p14="http://schemas.microsoft.com/office/powerpoint/2010/main" val="34187120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3F5F76-76C0-6F65-F2E6-D4382DD441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7">
            <a:extLst>
              <a:ext uri="{FF2B5EF4-FFF2-40B4-BE49-F238E27FC236}">
                <a16:creationId xmlns:a16="http://schemas.microsoft.com/office/drawing/2014/main" id="{30D34BAA-9EF2-14E0-7F17-CCCBFCCA752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F48EE4E-3E99-4425-1436-38C7C31668EA}"/>
              </a:ext>
            </a:extLst>
          </p:cNvPr>
          <p:cNvSpPr txBox="1"/>
          <p:nvPr/>
        </p:nvSpPr>
        <p:spPr>
          <a:xfrm>
            <a:off x="3279313" y="2510118"/>
            <a:ext cx="5738751" cy="149637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HRIS Transformation 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axisbeispiel</a:t>
            </a:r>
          </a:p>
        </p:txBody>
      </p:sp>
    </p:spTree>
    <p:extLst>
      <p:ext uri="{BB962C8B-B14F-4D97-AF65-F5344CB8AC3E}">
        <p14:creationId xmlns:p14="http://schemas.microsoft.com/office/powerpoint/2010/main" val="23284496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7">
            <a:extLst>
              <a:ext uri="{FF2B5EF4-FFF2-40B4-BE49-F238E27FC236}">
                <a16:creationId xmlns:a16="http://schemas.microsoft.com/office/drawing/2014/main" id="{66E8A331-AD9C-921E-B2B4-E7FFA43D5A8C}"/>
              </a:ext>
            </a:extLst>
          </p:cNvPr>
          <p:cNvSpPr/>
          <p:nvPr/>
        </p:nvSpPr>
        <p:spPr>
          <a:xfrm>
            <a:off x="0" y="6626"/>
            <a:ext cx="12192000" cy="6858000"/>
          </a:xfrm>
          <a:prstGeom prst="rect">
            <a:avLst/>
          </a:prstGeom>
          <a:solidFill>
            <a:srgbClr val="6FCCD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B212D6DE-F7E0-5389-AA67-B4E21DDFC4A6}"/>
              </a:ext>
            </a:extLst>
          </p:cNvPr>
          <p:cNvSpPr txBox="1"/>
          <p:nvPr/>
        </p:nvSpPr>
        <p:spPr>
          <a:xfrm>
            <a:off x="1992175" y="2727463"/>
            <a:ext cx="8183105" cy="1030514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lIns="0" tIns="0" rIns="0" bIns="0" rtlCol="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Verdana" panose="020B0604030504040204" pitchFamily="34" charset="0"/>
                <a:cs typeface="+mn-cs"/>
              </a:rPr>
              <a:t>Why – Our Meaning (Vision &amp; Mission)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203996C-7893-D546-A46A-BCAEEE1F2D5E}"/>
              </a:ext>
            </a:extLst>
          </p:cNvPr>
          <p:cNvSpPr txBox="1"/>
          <p:nvPr/>
        </p:nvSpPr>
        <p:spPr>
          <a:xfrm>
            <a:off x="1992174" y="3895399"/>
            <a:ext cx="8183105" cy="1030513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Verdana" panose="020B0604030504040204" pitchFamily="34" charset="0"/>
                <a:cs typeface="+mn-cs"/>
              </a:rPr>
              <a:t>What – Our Impact  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F9F23DB-8699-E0D0-209E-56957D266E43}"/>
              </a:ext>
            </a:extLst>
          </p:cNvPr>
          <p:cNvSpPr txBox="1"/>
          <p:nvPr/>
        </p:nvSpPr>
        <p:spPr>
          <a:xfrm>
            <a:off x="1992174" y="5063334"/>
            <a:ext cx="8183105" cy="1030513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buClr>
                <a:schemeClr val="accent1"/>
              </a:buClr>
              <a:defRPr sz="1400"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18254F"/>
              </a:buClr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Verdana" panose="020B0604030504040204" pitchFamily="34" charset="0"/>
                <a:cs typeface="+mn-cs"/>
              </a:rPr>
              <a:t>How – Our Actions</a:t>
            </a:r>
          </a:p>
        </p:txBody>
      </p:sp>
      <p:sp>
        <p:nvSpPr>
          <p:cNvPr id="6" name="Gleichschenkliges Dreieck 119">
            <a:extLst>
              <a:ext uri="{FF2B5EF4-FFF2-40B4-BE49-F238E27FC236}">
                <a16:creationId xmlns:a16="http://schemas.microsoft.com/office/drawing/2014/main" id="{AD6B9278-7C1B-299A-CDE5-EEB7F724140D}"/>
              </a:ext>
            </a:extLst>
          </p:cNvPr>
          <p:cNvSpPr/>
          <p:nvPr/>
        </p:nvSpPr>
        <p:spPr>
          <a:xfrm>
            <a:off x="1992176" y="1150351"/>
            <a:ext cx="8183105" cy="1439690"/>
          </a:xfrm>
          <a:prstGeom prst="triangle">
            <a:avLst>
              <a:gd name="adj" fmla="val 49922"/>
            </a:avLst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8254F"/>
              </a:buClr>
              <a:buSzTx/>
              <a:buFontTx/>
              <a:buNone/>
              <a:tabLst/>
              <a:defRPr/>
            </a:pPr>
            <a:r>
              <a:rPr kumimoji="0" lang="en-US" sz="3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0FA1F1DF-4976-60D8-7073-904FD37A38CF}"/>
              </a:ext>
            </a:extLst>
          </p:cNvPr>
          <p:cNvSpPr txBox="1">
            <a:spLocks/>
          </p:cNvSpPr>
          <p:nvPr/>
        </p:nvSpPr>
        <p:spPr>
          <a:xfrm>
            <a:off x="1313289" y="361856"/>
            <a:ext cx="9540874" cy="5940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j-ea"/>
                <a:cs typeface="+mj-cs"/>
              </a:rPr>
              <a:t>Our HR Digitalization Strategy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168583" y="1841893"/>
            <a:ext cx="3854833" cy="54457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Verdana" panose="020B0604030504040204" pitchFamily="34" charset="0"/>
                <a:cs typeface="+mn-cs"/>
              </a:rPr>
              <a:t>People Strategy</a:t>
            </a:r>
          </a:p>
        </p:txBody>
      </p:sp>
    </p:spTree>
    <p:extLst>
      <p:ext uri="{BB962C8B-B14F-4D97-AF65-F5344CB8AC3E}">
        <p14:creationId xmlns:p14="http://schemas.microsoft.com/office/powerpoint/2010/main" val="22991572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7">
            <a:extLst>
              <a:ext uri="{FF2B5EF4-FFF2-40B4-BE49-F238E27FC236}">
                <a16:creationId xmlns:a16="http://schemas.microsoft.com/office/drawing/2014/main" id="{71CBA4AF-E1E3-B8E4-65D8-E1838B43A5F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88000" y="372514"/>
            <a:ext cx="9216000" cy="594000"/>
          </a:xfrm>
        </p:spPr>
        <p:txBody>
          <a:bodyPr/>
          <a:lstStyle/>
          <a:p>
            <a:pPr algn="ctr"/>
            <a:r>
              <a:rPr lang="en-US" sz="2800" dirty="0"/>
              <a:t>What - Strategic action areas  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886691" y="1225810"/>
            <a:ext cx="2724727" cy="1283854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Global Approach</a:t>
            </a:r>
            <a:r>
              <a:rPr kumimoji="0" lang="hu-H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&amp;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ultural Shift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4586163" y="1225810"/>
            <a:ext cx="2724727" cy="1283854"/>
          </a:xfrm>
          <a:prstGeom prst="round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C4C9D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rganizational Agility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8285632" y="1225810"/>
            <a:ext cx="2724727" cy="1283854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Governance and</a:t>
            </a:r>
            <a:r>
              <a:rPr kumimoji="0" lang="hu-H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mplianc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886691" y="2980719"/>
            <a:ext cx="2724727" cy="1283854"/>
          </a:xfrm>
          <a:prstGeom prst="round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C4C9D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alent Acquisiti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886691" y="4735628"/>
            <a:ext cx="2724727" cy="1283854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igital Transformation</a:t>
            </a:r>
            <a:r>
              <a:rPr kumimoji="0" lang="hu-H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and Best-</a:t>
            </a:r>
            <a:r>
              <a:rPr kumimoji="0" lang="hu-H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actic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HR Processes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4586162" y="4735628"/>
            <a:ext cx="2724727" cy="1283854"/>
          </a:xfrm>
          <a:prstGeom prst="round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C4C9D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ransparency &amp; Effectiveness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8285635" y="4735628"/>
            <a:ext cx="2724727" cy="1283854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orkforce Managemen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4586162" y="3028257"/>
            <a:ext cx="2724727" cy="1283854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alent &amp; Succession Management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8285633" y="3028257"/>
            <a:ext cx="2724727" cy="1283854"/>
          </a:xfrm>
          <a:prstGeom prst="round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C4C9D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ife-Long Learning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65A9AAD-58F8-8C3E-76D1-6EEA62A39058}"/>
              </a:ext>
            </a:extLst>
          </p:cNvPr>
          <p:cNvSpPr txBox="1"/>
          <p:nvPr/>
        </p:nvSpPr>
        <p:spPr>
          <a:xfrm rot="2066880">
            <a:off x="8993206" y="787261"/>
            <a:ext cx="3586659" cy="544573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ample Case</a:t>
            </a:r>
          </a:p>
        </p:txBody>
      </p:sp>
    </p:spTree>
    <p:extLst>
      <p:ext uri="{BB962C8B-B14F-4D97-AF65-F5344CB8AC3E}">
        <p14:creationId xmlns:p14="http://schemas.microsoft.com/office/powerpoint/2010/main" val="3987057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7">
            <a:extLst>
              <a:ext uri="{FF2B5EF4-FFF2-40B4-BE49-F238E27FC236}">
                <a16:creationId xmlns:a16="http://schemas.microsoft.com/office/drawing/2014/main" id="{24CFF527-C518-E190-5230-0BA547FF45E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" name="Titel 6">
            <a:extLst>
              <a:ext uri="{FF2B5EF4-FFF2-40B4-BE49-F238E27FC236}">
                <a16:creationId xmlns:a16="http://schemas.microsoft.com/office/drawing/2014/main" id="{824F369F-8B43-922F-C184-7D98849E9251}"/>
              </a:ext>
            </a:extLst>
          </p:cNvPr>
          <p:cNvSpPr txBox="1">
            <a:spLocks/>
          </p:cNvSpPr>
          <p:nvPr/>
        </p:nvSpPr>
        <p:spPr>
          <a:xfrm>
            <a:off x="2395011" y="465547"/>
            <a:ext cx="9612058" cy="5940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j-ea"/>
                <a:cs typeface="+mj-cs"/>
              </a:rPr>
              <a:t>What – Our Strategic Global Priorities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1EC8A7A-DD37-A785-F885-311BD67AEE78}"/>
              </a:ext>
            </a:extLst>
          </p:cNvPr>
          <p:cNvSpPr txBox="1"/>
          <p:nvPr/>
        </p:nvSpPr>
        <p:spPr>
          <a:xfrm>
            <a:off x="1300271" y="1325558"/>
            <a:ext cx="10165936" cy="24468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Global HR Priorities for next 2 yea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1" i="0" u="none" strike="noStrike" kern="1200" cap="none" spc="0" normalizeH="0" baseline="0" noProof="0" dirty="0">
              <a:ln>
                <a:noFill/>
              </a:ln>
              <a:solidFill>
                <a:srgbClr val="18254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iority</a:t>
            </a:r>
            <a:r>
              <a:rPr kumimoji="0" lang="hu-HU" sz="17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#1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: </a:t>
            </a: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nhance Talent Attraction and </a:t>
            </a:r>
            <a:r>
              <a:rPr kumimoji="0" lang="hu-HU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etention</a:t>
            </a:r>
            <a:endParaRPr kumimoji="0" lang="hu-HU" sz="1700" b="0" i="0" u="none" strike="noStrike" kern="1200" cap="none" spc="0" normalizeH="0" baseline="0" noProof="0" dirty="0">
              <a:ln>
                <a:noFill/>
              </a:ln>
              <a:solidFill>
                <a:srgbClr val="18254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1" i="0" u="none" strike="noStrike" kern="1200" cap="none" spc="0" normalizeH="0" baseline="0" noProof="0" dirty="0">
              <a:ln>
                <a:noFill/>
              </a:ln>
              <a:solidFill>
                <a:srgbClr val="18254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iority</a:t>
            </a:r>
            <a:r>
              <a:rPr kumimoji="0" lang="hu-HU" sz="17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#2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: </a:t>
            </a: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mprove Employee Experience</a:t>
            </a:r>
            <a:endParaRPr kumimoji="0" lang="hu-HU" sz="1700" b="0" i="0" u="none" strike="noStrike" kern="1200" cap="none" spc="0" normalizeH="0" baseline="0" noProof="0" dirty="0">
              <a:ln>
                <a:noFill/>
              </a:ln>
              <a:solidFill>
                <a:srgbClr val="18254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rgbClr val="18254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iority</a:t>
            </a:r>
            <a:r>
              <a:rPr kumimoji="0" lang="hu-HU" sz="17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#3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: </a:t>
            </a: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ptimize HR Operations and Efficiency</a:t>
            </a:r>
            <a:endParaRPr kumimoji="0" lang="hu-HU" sz="1700" b="0" i="0" u="none" strike="noStrike" kern="1200" cap="none" spc="0" normalizeH="0" baseline="0" noProof="0" dirty="0">
              <a:ln>
                <a:noFill/>
              </a:ln>
              <a:solidFill>
                <a:srgbClr val="18254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rgbClr val="18254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……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37FB00C-9586-060C-6143-620562A8D90A}"/>
              </a:ext>
            </a:extLst>
          </p:cNvPr>
          <p:cNvSpPr txBox="1"/>
          <p:nvPr/>
        </p:nvSpPr>
        <p:spPr>
          <a:xfrm>
            <a:off x="1397432" y="3889264"/>
            <a:ext cx="10165936" cy="20467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rgbClr val="18254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iority: Improve Employee Experience</a:t>
            </a: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rgbClr val="18254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bjective: Providing a „one-stop-shop“ to all employees, offering (digital) HR services &amp; knowledg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bjective: Consequently offering self services where applicabl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18254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bjective: Reducing the lead time for HR services and enhancing the user experience lev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rgbClr val="18254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7" name="Nach rechts gekrümmter Pfeil 6">
            <a:extLst>
              <a:ext uri="{FF2B5EF4-FFF2-40B4-BE49-F238E27FC236}">
                <a16:creationId xmlns:a16="http://schemas.microsoft.com/office/drawing/2014/main" id="{9E3D3696-A5E2-3F9C-1173-776F5DBB07EA}"/>
              </a:ext>
            </a:extLst>
          </p:cNvPr>
          <p:cNvSpPr/>
          <p:nvPr/>
        </p:nvSpPr>
        <p:spPr>
          <a:xfrm>
            <a:off x="568751" y="2451581"/>
            <a:ext cx="731520" cy="2046713"/>
          </a:xfrm>
          <a:prstGeom prst="curvedRightArrow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17D8739-D418-EE59-6D9E-D23327781CE1}"/>
              </a:ext>
            </a:extLst>
          </p:cNvPr>
          <p:cNvSpPr txBox="1"/>
          <p:nvPr/>
        </p:nvSpPr>
        <p:spPr>
          <a:xfrm rot="2066880">
            <a:off x="8993206" y="787261"/>
            <a:ext cx="3586659" cy="544573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ample Case</a:t>
            </a:r>
          </a:p>
        </p:txBody>
      </p:sp>
    </p:spTree>
    <p:extLst>
      <p:ext uri="{BB962C8B-B14F-4D97-AF65-F5344CB8AC3E}">
        <p14:creationId xmlns:p14="http://schemas.microsoft.com/office/powerpoint/2010/main" val="22835410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Larissa">
  <a:themeElements>
    <a:clrScheme name="Benutzerdefiniert 52">
      <a:dk1>
        <a:srgbClr val="002D64"/>
      </a:dk1>
      <a:lt1>
        <a:srgbClr val="FFFFFF"/>
      </a:lt1>
      <a:dk2>
        <a:srgbClr val="415F8C"/>
      </a:dk2>
      <a:lt2>
        <a:srgbClr val="002D64"/>
      </a:lt2>
      <a:accent1>
        <a:srgbClr val="AFBED2"/>
      </a:accent1>
      <a:accent2>
        <a:srgbClr val="646464"/>
      </a:accent2>
      <a:accent3>
        <a:srgbClr val="F0F0F0"/>
      </a:accent3>
      <a:accent4>
        <a:srgbClr val="008CA0"/>
      </a:accent4>
      <a:accent5>
        <a:srgbClr val="960F1E"/>
      </a:accent5>
      <a:accent6>
        <a:srgbClr val="FF7F00"/>
      </a:accent6>
      <a:hlink>
        <a:srgbClr val="002D64"/>
      </a:hlink>
      <a:folHlink>
        <a:srgbClr val="002D64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>
        <a:noAutofit/>
      </a:bodyPr>
      <a:lstStyle>
        <a:defPPr>
          <a:spcBef>
            <a:spcPts val="600"/>
          </a:spcBef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Bertelsmann_PPT_Master_2014_16zu9_Entwurf_angepasst.pptx" id="{88DDA2CA-EC14-4BAE-83E5-03BB985E7EB5}" vid="{5EF44A50-BD4C-4C4D-8F14-7D7BCA81481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rebootHR_EN">
  <a:themeElements>
    <a:clrScheme name="reboot:HR">
      <a:dk1>
        <a:srgbClr val="000000"/>
      </a:dk1>
      <a:lt1>
        <a:srgbClr val="FFFFFF"/>
      </a:lt1>
      <a:dk2>
        <a:srgbClr val="18254F"/>
      </a:dk2>
      <a:lt2>
        <a:srgbClr val="E2E4EB"/>
      </a:lt2>
      <a:accent1>
        <a:srgbClr val="18254F"/>
      </a:accent1>
      <a:accent2>
        <a:srgbClr val="3C4C9D"/>
      </a:accent2>
      <a:accent3>
        <a:srgbClr val="6FCCDD"/>
      </a:accent3>
      <a:accent4>
        <a:srgbClr val="CB245B"/>
      </a:accent4>
      <a:accent5>
        <a:srgbClr val="153276"/>
      </a:accent5>
      <a:accent6>
        <a:srgbClr val="B7BCCF"/>
      </a:accent6>
      <a:hlink>
        <a:srgbClr val="6FCCDD"/>
      </a:hlink>
      <a:folHlink>
        <a:srgbClr val="6FCCDD"/>
      </a:folHlink>
    </a:clrScheme>
    <a:fontScheme name="reboot:HR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_PPT_Vorlage_rebootHR" id="{0D0D2F1D-D06E-44C3-AA3A-5AF0EA385FF9}" vid="{69DA1F96-D0BE-4257-B4D8-CA94EDF54164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77</Words>
  <Application>Microsoft Office PowerPoint</Application>
  <PresentationFormat>Breitbild</PresentationFormat>
  <Paragraphs>181</Paragraphs>
  <Slides>15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8" baseType="lpstr">
      <vt:lpstr>Aptos</vt:lpstr>
      <vt:lpstr>Arial</vt:lpstr>
      <vt:lpstr>Calibri</vt:lpstr>
      <vt:lpstr>Lato Light</vt:lpstr>
      <vt:lpstr>Montserrat</vt:lpstr>
      <vt:lpstr>Roboto</vt:lpstr>
      <vt:lpstr>Symbol</vt:lpstr>
      <vt:lpstr>Verdana</vt:lpstr>
      <vt:lpstr>Wingdings</vt:lpstr>
      <vt:lpstr>1_Larissa</vt:lpstr>
      <vt:lpstr>Office Theme</vt:lpstr>
      <vt:lpstr>1_rebootHR_EN</vt:lpstr>
      <vt:lpstr>think-cell Folie</vt:lpstr>
      <vt:lpstr>Impact Session</vt:lpstr>
      <vt:lpstr>PowerPoint-Präsentation</vt:lpstr>
      <vt:lpstr>Von der Geschäftsstrategie zur HR-IT Roadmap</vt:lpstr>
      <vt:lpstr>Von der Geschäftsstrategie zur HR-IT Roadmap</vt:lpstr>
      <vt:lpstr>Von der Geschäftsstrategie zur HR-IT Roadmap</vt:lpstr>
      <vt:lpstr>PowerPoint-Präsentation</vt:lpstr>
      <vt:lpstr>PowerPoint-Präsentation</vt:lpstr>
      <vt:lpstr>What - Strategic action areas  </vt:lpstr>
      <vt:lpstr>PowerPoint-Präsentation</vt:lpstr>
      <vt:lpstr>PowerPoint-Präsentation</vt:lpstr>
      <vt:lpstr>PowerPoint-Präsentation</vt:lpstr>
      <vt:lpstr>  </vt:lpstr>
      <vt:lpstr>  </vt:lpstr>
      <vt:lpstr>  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asmin Hoffelner</dc:creator>
  <cp:lastModifiedBy>Jasmin Hoffelner</cp:lastModifiedBy>
  <cp:revision>2</cp:revision>
  <dcterms:created xsi:type="dcterms:W3CDTF">2026-03-16T15:57:51Z</dcterms:created>
  <dcterms:modified xsi:type="dcterms:W3CDTF">2026-03-16T15:59:54Z</dcterms:modified>
</cp:coreProperties>
</file>